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9" r:id="rId2"/>
    <p:sldMasterId id="2147483711" r:id="rId3"/>
    <p:sldMasterId id="2147483719" r:id="rId4"/>
  </p:sldMasterIdLst>
  <p:notesMasterIdLst>
    <p:notesMasterId r:id="rId18"/>
  </p:notesMasterIdLst>
  <p:sldIdLst>
    <p:sldId id="688" r:id="rId5"/>
    <p:sldId id="11288" r:id="rId6"/>
    <p:sldId id="11296" r:id="rId7"/>
    <p:sldId id="11293" r:id="rId8"/>
    <p:sldId id="11298" r:id="rId9"/>
    <p:sldId id="11303" r:id="rId10"/>
    <p:sldId id="11276" r:id="rId11"/>
    <p:sldId id="785" r:id="rId12"/>
    <p:sldId id="791" r:id="rId13"/>
    <p:sldId id="11297" r:id="rId14"/>
    <p:sldId id="11274" r:id="rId15"/>
    <p:sldId id="11305" r:id="rId16"/>
    <p:sldId id="1130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DB53F3-A92B-4371-BA34-BDF769FB0584}" v="1" dt="2026-05-11T14:01:54.49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998" autoAdjust="0"/>
  </p:normalViewPr>
  <p:slideViewPr>
    <p:cSldViewPr snapToGrid="0">
      <p:cViewPr varScale="1">
        <p:scale>
          <a:sx n="55" d="100"/>
          <a:sy n="55" d="100"/>
        </p:scale>
        <p:origin x="1096" y="2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customXml" Target="../customXml/item3.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ustomXml" Target="../customXml/item1.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D16ACBF-6ACF-4311-B524-379C2E3A2AB0}"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CA"/>
        </a:p>
      </dgm:t>
    </dgm:pt>
    <dgm:pt modelId="{EDB65472-8DF4-4D76-9AAD-554A9C4E5C80}">
      <dgm:prSet phldrT="[Text]"/>
      <dgm:spPr/>
      <dgm:t>
        <a:bodyPr/>
        <a:lstStyle/>
        <a:p>
          <a:r>
            <a:rPr lang="en-US" dirty="0"/>
            <a:t>Business Name </a:t>
          </a:r>
          <a:endParaRPr lang="en-CA" dirty="0"/>
        </a:p>
      </dgm:t>
    </dgm:pt>
    <dgm:pt modelId="{A267FD0E-50B6-4A1C-BB65-44028A371DBE}" type="parTrans" cxnId="{FCA20A3C-C4FA-4C4F-B5CD-88A7A88F609F}">
      <dgm:prSet/>
      <dgm:spPr/>
      <dgm:t>
        <a:bodyPr/>
        <a:lstStyle/>
        <a:p>
          <a:endParaRPr lang="en-CA"/>
        </a:p>
      </dgm:t>
    </dgm:pt>
    <dgm:pt modelId="{7126D3D7-A2B4-448D-8890-E96CDEF3101A}" type="sibTrans" cxnId="{FCA20A3C-C4FA-4C4F-B5CD-88A7A88F609F}">
      <dgm:prSet/>
      <dgm:spPr/>
      <dgm:t>
        <a:bodyPr/>
        <a:lstStyle/>
        <a:p>
          <a:endParaRPr lang="en-CA"/>
        </a:p>
      </dgm:t>
    </dgm:pt>
    <dgm:pt modelId="{C5C6BCE2-2334-473A-9C85-B8C3E8A9F34C}">
      <dgm:prSet phldrT="[Text]"/>
      <dgm:spPr/>
      <dgm:t>
        <a:bodyPr/>
        <a:lstStyle/>
        <a:p>
          <a:r>
            <a:rPr lang="en-US" dirty="0"/>
            <a:t>Authorized Buyer 1</a:t>
          </a:r>
          <a:endParaRPr lang="en-CA" dirty="0"/>
        </a:p>
      </dgm:t>
    </dgm:pt>
    <dgm:pt modelId="{739A6D34-716B-4520-BC61-33DC3220AF25}" type="parTrans" cxnId="{6D72C5EF-A81B-4558-A38B-C0A8DE626C1A}">
      <dgm:prSet/>
      <dgm:spPr/>
      <dgm:t>
        <a:bodyPr/>
        <a:lstStyle/>
        <a:p>
          <a:endParaRPr lang="en-CA"/>
        </a:p>
      </dgm:t>
    </dgm:pt>
    <dgm:pt modelId="{B1A81DD5-E036-459A-9826-F277A118985A}" type="sibTrans" cxnId="{6D72C5EF-A81B-4558-A38B-C0A8DE626C1A}">
      <dgm:prSet/>
      <dgm:spPr/>
      <dgm:t>
        <a:bodyPr/>
        <a:lstStyle/>
        <a:p>
          <a:endParaRPr lang="en-CA"/>
        </a:p>
      </dgm:t>
    </dgm:pt>
    <dgm:pt modelId="{F186C75A-E37D-47F8-BF9F-1792800390FC}">
      <dgm:prSet phldrT="[Text]"/>
      <dgm:spPr/>
      <dgm:t>
        <a:bodyPr/>
        <a:lstStyle/>
        <a:p>
          <a:r>
            <a:rPr lang="en-US" dirty="0"/>
            <a:t>Authorized Buyer 2 </a:t>
          </a:r>
          <a:endParaRPr lang="en-CA" dirty="0"/>
        </a:p>
      </dgm:t>
    </dgm:pt>
    <dgm:pt modelId="{FFDFC6D2-F360-47CB-ADF8-AC2379729F0A}" type="parTrans" cxnId="{BDEC19F4-6624-4368-BCF9-0E878A5318D5}">
      <dgm:prSet/>
      <dgm:spPr/>
      <dgm:t>
        <a:bodyPr/>
        <a:lstStyle/>
        <a:p>
          <a:endParaRPr lang="en-CA"/>
        </a:p>
      </dgm:t>
    </dgm:pt>
    <dgm:pt modelId="{344B5808-3333-47B6-9AD4-600FE6EDD0CA}" type="sibTrans" cxnId="{BDEC19F4-6624-4368-BCF9-0E878A5318D5}">
      <dgm:prSet/>
      <dgm:spPr/>
      <dgm:t>
        <a:bodyPr/>
        <a:lstStyle/>
        <a:p>
          <a:endParaRPr lang="en-CA"/>
        </a:p>
      </dgm:t>
    </dgm:pt>
    <dgm:pt modelId="{2A00DD18-0553-4A7C-9E02-184321755768}">
      <dgm:prSet phldrT="[Text]"/>
      <dgm:spPr/>
      <dgm:t>
        <a:bodyPr/>
        <a:lstStyle/>
        <a:p>
          <a:r>
            <a:rPr lang="en-US" dirty="0"/>
            <a:t>Authorized Buyer 3 </a:t>
          </a:r>
          <a:endParaRPr lang="en-CA" dirty="0"/>
        </a:p>
      </dgm:t>
    </dgm:pt>
    <dgm:pt modelId="{BEF5181D-CA36-4DE1-98DE-527D42DA51B9}" type="parTrans" cxnId="{CA8F8BA3-307E-4793-A771-9C8771BD6E01}">
      <dgm:prSet/>
      <dgm:spPr/>
      <dgm:t>
        <a:bodyPr/>
        <a:lstStyle/>
        <a:p>
          <a:endParaRPr lang="en-CA"/>
        </a:p>
      </dgm:t>
    </dgm:pt>
    <dgm:pt modelId="{890E3B65-E189-4F5E-B168-4931A4476746}" type="sibTrans" cxnId="{CA8F8BA3-307E-4793-A771-9C8771BD6E01}">
      <dgm:prSet/>
      <dgm:spPr/>
      <dgm:t>
        <a:bodyPr/>
        <a:lstStyle/>
        <a:p>
          <a:endParaRPr lang="en-CA"/>
        </a:p>
      </dgm:t>
    </dgm:pt>
    <dgm:pt modelId="{44244917-7FDA-476D-811A-C690B1126607}" type="pres">
      <dgm:prSet presAssocID="{8D16ACBF-6ACF-4311-B524-379C2E3A2AB0}" presName="Name0" presStyleCnt="0">
        <dgm:presLayoutVars>
          <dgm:chPref val="1"/>
          <dgm:dir/>
          <dgm:animOne val="branch"/>
          <dgm:animLvl val="lvl"/>
          <dgm:resizeHandles val="exact"/>
        </dgm:presLayoutVars>
      </dgm:prSet>
      <dgm:spPr/>
    </dgm:pt>
    <dgm:pt modelId="{95536CF7-2FE6-4E02-AB18-20FACDFD0ADD}" type="pres">
      <dgm:prSet presAssocID="{EDB65472-8DF4-4D76-9AAD-554A9C4E5C80}" presName="root1" presStyleCnt="0"/>
      <dgm:spPr/>
    </dgm:pt>
    <dgm:pt modelId="{E9271D0F-7490-497A-8DDC-BE9986087525}" type="pres">
      <dgm:prSet presAssocID="{EDB65472-8DF4-4D76-9AAD-554A9C4E5C80}" presName="LevelOneTextNode" presStyleLbl="node0" presStyleIdx="0" presStyleCnt="1">
        <dgm:presLayoutVars>
          <dgm:chPref val="3"/>
        </dgm:presLayoutVars>
      </dgm:prSet>
      <dgm:spPr/>
    </dgm:pt>
    <dgm:pt modelId="{979C84E8-9EC8-4621-8084-BAFDC4502831}" type="pres">
      <dgm:prSet presAssocID="{EDB65472-8DF4-4D76-9AAD-554A9C4E5C80}" presName="level2hierChild" presStyleCnt="0"/>
      <dgm:spPr/>
    </dgm:pt>
    <dgm:pt modelId="{72EB185C-EC44-4AED-BD07-3D555524DAF5}" type="pres">
      <dgm:prSet presAssocID="{739A6D34-716B-4520-BC61-33DC3220AF25}" presName="conn2-1" presStyleLbl="parChTrans1D2" presStyleIdx="0" presStyleCnt="3"/>
      <dgm:spPr/>
    </dgm:pt>
    <dgm:pt modelId="{3F1F97C9-C639-4E08-A231-DA9140867FA6}" type="pres">
      <dgm:prSet presAssocID="{739A6D34-716B-4520-BC61-33DC3220AF25}" presName="connTx" presStyleLbl="parChTrans1D2" presStyleIdx="0" presStyleCnt="3"/>
      <dgm:spPr/>
    </dgm:pt>
    <dgm:pt modelId="{5A0C4E21-6E8F-48C4-B995-C96EB641F7B2}" type="pres">
      <dgm:prSet presAssocID="{C5C6BCE2-2334-473A-9C85-B8C3E8A9F34C}" presName="root2" presStyleCnt="0"/>
      <dgm:spPr/>
    </dgm:pt>
    <dgm:pt modelId="{89815A01-88AA-4C30-AB6F-A6283FFF1E1E}" type="pres">
      <dgm:prSet presAssocID="{C5C6BCE2-2334-473A-9C85-B8C3E8A9F34C}" presName="LevelTwoTextNode" presStyleLbl="node2" presStyleIdx="0" presStyleCnt="3">
        <dgm:presLayoutVars>
          <dgm:chPref val="3"/>
        </dgm:presLayoutVars>
      </dgm:prSet>
      <dgm:spPr/>
    </dgm:pt>
    <dgm:pt modelId="{E03E121A-EAD9-424F-89F6-8688380591F8}" type="pres">
      <dgm:prSet presAssocID="{C5C6BCE2-2334-473A-9C85-B8C3E8A9F34C}" presName="level3hierChild" presStyleCnt="0"/>
      <dgm:spPr/>
    </dgm:pt>
    <dgm:pt modelId="{47F44C14-E76B-4E1D-9B9B-97BD7E13C317}" type="pres">
      <dgm:prSet presAssocID="{FFDFC6D2-F360-47CB-ADF8-AC2379729F0A}" presName="conn2-1" presStyleLbl="parChTrans1D2" presStyleIdx="1" presStyleCnt="3"/>
      <dgm:spPr/>
    </dgm:pt>
    <dgm:pt modelId="{7258BE5C-FC1B-4072-80D2-D50E76E9B6CB}" type="pres">
      <dgm:prSet presAssocID="{FFDFC6D2-F360-47CB-ADF8-AC2379729F0A}" presName="connTx" presStyleLbl="parChTrans1D2" presStyleIdx="1" presStyleCnt="3"/>
      <dgm:spPr/>
    </dgm:pt>
    <dgm:pt modelId="{BF64EAF9-8099-476F-8DA5-E70E6853616D}" type="pres">
      <dgm:prSet presAssocID="{F186C75A-E37D-47F8-BF9F-1792800390FC}" presName="root2" presStyleCnt="0"/>
      <dgm:spPr/>
    </dgm:pt>
    <dgm:pt modelId="{D7C27BF0-9DBF-4538-B4B4-72D418069A9C}" type="pres">
      <dgm:prSet presAssocID="{F186C75A-E37D-47F8-BF9F-1792800390FC}" presName="LevelTwoTextNode" presStyleLbl="node2" presStyleIdx="1" presStyleCnt="3">
        <dgm:presLayoutVars>
          <dgm:chPref val="3"/>
        </dgm:presLayoutVars>
      </dgm:prSet>
      <dgm:spPr/>
    </dgm:pt>
    <dgm:pt modelId="{2F92451D-2FA3-4986-99EE-629A5C78EDB5}" type="pres">
      <dgm:prSet presAssocID="{F186C75A-E37D-47F8-BF9F-1792800390FC}" presName="level3hierChild" presStyleCnt="0"/>
      <dgm:spPr/>
    </dgm:pt>
    <dgm:pt modelId="{C44DEE6B-7120-4558-A39E-A562F4ADFED2}" type="pres">
      <dgm:prSet presAssocID="{BEF5181D-CA36-4DE1-98DE-527D42DA51B9}" presName="conn2-1" presStyleLbl="parChTrans1D2" presStyleIdx="2" presStyleCnt="3"/>
      <dgm:spPr/>
    </dgm:pt>
    <dgm:pt modelId="{1571B405-E67D-4C48-B45E-C2E3838E8B01}" type="pres">
      <dgm:prSet presAssocID="{BEF5181D-CA36-4DE1-98DE-527D42DA51B9}" presName="connTx" presStyleLbl="parChTrans1D2" presStyleIdx="2" presStyleCnt="3"/>
      <dgm:spPr/>
    </dgm:pt>
    <dgm:pt modelId="{177DA262-266F-4CE4-9C3E-2213529B4992}" type="pres">
      <dgm:prSet presAssocID="{2A00DD18-0553-4A7C-9E02-184321755768}" presName="root2" presStyleCnt="0"/>
      <dgm:spPr/>
    </dgm:pt>
    <dgm:pt modelId="{14CF79D7-825D-4D25-AF94-E0C5C5FC2E73}" type="pres">
      <dgm:prSet presAssocID="{2A00DD18-0553-4A7C-9E02-184321755768}" presName="LevelTwoTextNode" presStyleLbl="node2" presStyleIdx="2" presStyleCnt="3">
        <dgm:presLayoutVars>
          <dgm:chPref val="3"/>
        </dgm:presLayoutVars>
      </dgm:prSet>
      <dgm:spPr/>
    </dgm:pt>
    <dgm:pt modelId="{0F181961-651D-4316-94B8-06A6BD406A41}" type="pres">
      <dgm:prSet presAssocID="{2A00DD18-0553-4A7C-9E02-184321755768}" presName="level3hierChild" presStyleCnt="0"/>
      <dgm:spPr/>
    </dgm:pt>
  </dgm:ptLst>
  <dgm:cxnLst>
    <dgm:cxn modelId="{8D1DDC04-1255-45B3-88D2-EEB7997E6550}" type="presOf" srcId="{EDB65472-8DF4-4D76-9AAD-554A9C4E5C80}" destId="{E9271D0F-7490-497A-8DDC-BE9986087525}" srcOrd="0" destOrd="0" presId="urn:microsoft.com/office/officeart/2008/layout/HorizontalMultiLevelHierarchy"/>
    <dgm:cxn modelId="{EDCF500D-D723-48FD-8EE2-93BFE4C112F2}" type="presOf" srcId="{FFDFC6D2-F360-47CB-ADF8-AC2379729F0A}" destId="{47F44C14-E76B-4E1D-9B9B-97BD7E13C317}" srcOrd="0" destOrd="0" presId="urn:microsoft.com/office/officeart/2008/layout/HorizontalMultiLevelHierarchy"/>
    <dgm:cxn modelId="{5014141B-0BF7-4C25-9A1D-83A67531E667}" type="presOf" srcId="{8D16ACBF-6ACF-4311-B524-379C2E3A2AB0}" destId="{44244917-7FDA-476D-811A-C690B1126607}" srcOrd="0" destOrd="0" presId="urn:microsoft.com/office/officeart/2008/layout/HorizontalMultiLevelHierarchy"/>
    <dgm:cxn modelId="{40399735-3044-436F-B67F-6BDE336FCF5C}" type="presOf" srcId="{739A6D34-716B-4520-BC61-33DC3220AF25}" destId="{72EB185C-EC44-4AED-BD07-3D555524DAF5}" srcOrd="0" destOrd="0" presId="urn:microsoft.com/office/officeart/2008/layout/HorizontalMultiLevelHierarchy"/>
    <dgm:cxn modelId="{FCA20A3C-C4FA-4C4F-B5CD-88A7A88F609F}" srcId="{8D16ACBF-6ACF-4311-B524-379C2E3A2AB0}" destId="{EDB65472-8DF4-4D76-9AAD-554A9C4E5C80}" srcOrd="0" destOrd="0" parTransId="{A267FD0E-50B6-4A1C-BB65-44028A371DBE}" sibTransId="{7126D3D7-A2B4-448D-8890-E96CDEF3101A}"/>
    <dgm:cxn modelId="{42E51B64-CA52-4139-93FF-971AAD0F36EE}" type="presOf" srcId="{739A6D34-716B-4520-BC61-33DC3220AF25}" destId="{3F1F97C9-C639-4E08-A231-DA9140867FA6}" srcOrd="1" destOrd="0" presId="urn:microsoft.com/office/officeart/2008/layout/HorizontalMultiLevelHierarchy"/>
    <dgm:cxn modelId="{C92D8F6E-7698-4D59-BC92-6D608530ED5D}" type="presOf" srcId="{BEF5181D-CA36-4DE1-98DE-527D42DA51B9}" destId="{1571B405-E67D-4C48-B45E-C2E3838E8B01}" srcOrd="1" destOrd="0" presId="urn:microsoft.com/office/officeart/2008/layout/HorizontalMultiLevelHierarchy"/>
    <dgm:cxn modelId="{3737736F-2CD4-4FF2-A0FB-A5A2DD9C1A24}" type="presOf" srcId="{2A00DD18-0553-4A7C-9E02-184321755768}" destId="{14CF79D7-825D-4D25-AF94-E0C5C5FC2E73}" srcOrd="0" destOrd="0" presId="urn:microsoft.com/office/officeart/2008/layout/HorizontalMultiLevelHierarchy"/>
    <dgm:cxn modelId="{DE608357-7B10-45C3-845E-0CC6BCE0A932}" type="presOf" srcId="{FFDFC6D2-F360-47CB-ADF8-AC2379729F0A}" destId="{7258BE5C-FC1B-4072-80D2-D50E76E9B6CB}" srcOrd="1" destOrd="0" presId="urn:microsoft.com/office/officeart/2008/layout/HorizontalMultiLevelHierarchy"/>
    <dgm:cxn modelId="{F3E8ED77-0560-4ACC-888A-CF70759AD0DE}" type="presOf" srcId="{BEF5181D-CA36-4DE1-98DE-527D42DA51B9}" destId="{C44DEE6B-7120-4558-A39E-A562F4ADFED2}" srcOrd="0" destOrd="0" presId="urn:microsoft.com/office/officeart/2008/layout/HorizontalMultiLevelHierarchy"/>
    <dgm:cxn modelId="{CA8F8BA3-307E-4793-A771-9C8771BD6E01}" srcId="{EDB65472-8DF4-4D76-9AAD-554A9C4E5C80}" destId="{2A00DD18-0553-4A7C-9E02-184321755768}" srcOrd="2" destOrd="0" parTransId="{BEF5181D-CA36-4DE1-98DE-527D42DA51B9}" sibTransId="{890E3B65-E189-4F5E-B168-4931A4476746}"/>
    <dgm:cxn modelId="{045527B6-8FDD-44FE-BD26-E94B9D65A309}" type="presOf" srcId="{C5C6BCE2-2334-473A-9C85-B8C3E8A9F34C}" destId="{89815A01-88AA-4C30-AB6F-A6283FFF1E1E}" srcOrd="0" destOrd="0" presId="urn:microsoft.com/office/officeart/2008/layout/HorizontalMultiLevelHierarchy"/>
    <dgm:cxn modelId="{6D72C5EF-A81B-4558-A38B-C0A8DE626C1A}" srcId="{EDB65472-8DF4-4D76-9AAD-554A9C4E5C80}" destId="{C5C6BCE2-2334-473A-9C85-B8C3E8A9F34C}" srcOrd="0" destOrd="0" parTransId="{739A6D34-716B-4520-BC61-33DC3220AF25}" sibTransId="{B1A81DD5-E036-459A-9826-F277A118985A}"/>
    <dgm:cxn modelId="{0BB7C6F3-A1B3-4D1C-8608-ACA8C260CFB1}" type="presOf" srcId="{F186C75A-E37D-47F8-BF9F-1792800390FC}" destId="{D7C27BF0-9DBF-4538-B4B4-72D418069A9C}" srcOrd="0" destOrd="0" presId="urn:microsoft.com/office/officeart/2008/layout/HorizontalMultiLevelHierarchy"/>
    <dgm:cxn modelId="{BDEC19F4-6624-4368-BCF9-0E878A5318D5}" srcId="{EDB65472-8DF4-4D76-9AAD-554A9C4E5C80}" destId="{F186C75A-E37D-47F8-BF9F-1792800390FC}" srcOrd="1" destOrd="0" parTransId="{FFDFC6D2-F360-47CB-ADF8-AC2379729F0A}" sibTransId="{344B5808-3333-47B6-9AD4-600FE6EDD0CA}"/>
    <dgm:cxn modelId="{5FE5B123-491F-4F22-94E1-7E0E933113FA}" type="presParOf" srcId="{44244917-7FDA-476D-811A-C690B1126607}" destId="{95536CF7-2FE6-4E02-AB18-20FACDFD0ADD}" srcOrd="0" destOrd="0" presId="urn:microsoft.com/office/officeart/2008/layout/HorizontalMultiLevelHierarchy"/>
    <dgm:cxn modelId="{7678D6D2-20FB-4C63-8BED-973F0794F343}" type="presParOf" srcId="{95536CF7-2FE6-4E02-AB18-20FACDFD0ADD}" destId="{E9271D0F-7490-497A-8DDC-BE9986087525}" srcOrd="0" destOrd="0" presId="urn:microsoft.com/office/officeart/2008/layout/HorizontalMultiLevelHierarchy"/>
    <dgm:cxn modelId="{CEF88E45-BCB9-451E-9EBB-3B5A23B3D9B4}" type="presParOf" srcId="{95536CF7-2FE6-4E02-AB18-20FACDFD0ADD}" destId="{979C84E8-9EC8-4621-8084-BAFDC4502831}" srcOrd="1" destOrd="0" presId="urn:microsoft.com/office/officeart/2008/layout/HorizontalMultiLevelHierarchy"/>
    <dgm:cxn modelId="{744D1C44-F006-4745-A9B0-A9ECB2B7E61A}" type="presParOf" srcId="{979C84E8-9EC8-4621-8084-BAFDC4502831}" destId="{72EB185C-EC44-4AED-BD07-3D555524DAF5}" srcOrd="0" destOrd="0" presId="urn:microsoft.com/office/officeart/2008/layout/HorizontalMultiLevelHierarchy"/>
    <dgm:cxn modelId="{DC45DEEF-892A-48EF-A4E1-B317C5E21FD1}" type="presParOf" srcId="{72EB185C-EC44-4AED-BD07-3D555524DAF5}" destId="{3F1F97C9-C639-4E08-A231-DA9140867FA6}" srcOrd="0" destOrd="0" presId="urn:microsoft.com/office/officeart/2008/layout/HorizontalMultiLevelHierarchy"/>
    <dgm:cxn modelId="{65CE74C3-686D-482D-91F2-3B21E1CBC89D}" type="presParOf" srcId="{979C84E8-9EC8-4621-8084-BAFDC4502831}" destId="{5A0C4E21-6E8F-48C4-B995-C96EB641F7B2}" srcOrd="1" destOrd="0" presId="urn:microsoft.com/office/officeart/2008/layout/HorizontalMultiLevelHierarchy"/>
    <dgm:cxn modelId="{DECF54F6-8A5A-4C98-B677-CED85DCD16B6}" type="presParOf" srcId="{5A0C4E21-6E8F-48C4-B995-C96EB641F7B2}" destId="{89815A01-88AA-4C30-AB6F-A6283FFF1E1E}" srcOrd="0" destOrd="0" presId="urn:microsoft.com/office/officeart/2008/layout/HorizontalMultiLevelHierarchy"/>
    <dgm:cxn modelId="{E78667A7-47E2-4617-8833-333A3ADFE2BD}" type="presParOf" srcId="{5A0C4E21-6E8F-48C4-B995-C96EB641F7B2}" destId="{E03E121A-EAD9-424F-89F6-8688380591F8}" srcOrd="1" destOrd="0" presId="urn:microsoft.com/office/officeart/2008/layout/HorizontalMultiLevelHierarchy"/>
    <dgm:cxn modelId="{A01D8B16-12F8-4CCD-A221-2C96F25B53EB}" type="presParOf" srcId="{979C84E8-9EC8-4621-8084-BAFDC4502831}" destId="{47F44C14-E76B-4E1D-9B9B-97BD7E13C317}" srcOrd="2" destOrd="0" presId="urn:microsoft.com/office/officeart/2008/layout/HorizontalMultiLevelHierarchy"/>
    <dgm:cxn modelId="{7557251B-72B6-4AB9-A814-7890F0EFE540}" type="presParOf" srcId="{47F44C14-E76B-4E1D-9B9B-97BD7E13C317}" destId="{7258BE5C-FC1B-4072-80D2-D50E76E9B6CB}" srcOrd="0" destOrd="0" presId="urn:microsoft.com/office/officeart/2008/layout/HorizontalMultiLevelHierarchy"/>
    <dgm:cxn modelId="{5DCF613D-EDCC-4950-A14F-74E16197DFBB}" type="presParOf" srcId="{979C84E8-9EC8-4621-8084-BAFDC4502831}" destId="{BF64EAF9-8099-476F-8DA5-E70E6853616D}" srcOrd="3" destOrd="0" presId="urn:microsoft.com/office/officeart/2008/layout/HorizontalMultiLevelHierarchy"/>
    <dgm:cxn modelId="{89021A36-F391-474B-BB15-7346EFDC4266}" type="presParOf" srcId="{BF64EAF9-8099-476F-8DA5-E70E6853616D}" destId="{D7C27BF0-9DBF-4538-B4B4-72D418069A9C}" srcOrd="0" destOrd="0" presId="urn:microsoft.com/office/officeart/2008/layout/HorizontalMultiLevelHierarchy"/>
    <dgm:cxn modelId="{4CCD6206-B2E7-45A6-BCC4-7CCB8279B274}" type="presParOf" srcId="{BF64EAF9-8099-476F-8DA5-E70E6853616D}" destId="{2F92451D-2FA3-4986-99EE-629A5C78EDB5}" srcOrd="1" destOrd="0" presId="urn:microsoft.com/office/officeart/2008/layout/HorizontalMultiLevelHierarchy"/>
    <dgm:cxn modelId="{CAE57D29-1A84-455C-8DB9-08798F8EE4B7}" type="presParOf" srcId="{979C84E8-9EC8-4621-8084-BAFDC4502831}" destId="{C44DEE6B-7120-4558-A39E-A562F4ADFED2}" srcOrd="4" destOrd="0" presId="urn:microsoft.com/office/officeart/2008/layout/HorizontalMultiLevelHierarchy"/>
    <dgm:cxn modelId="{1F15C093-DF81-4714-B2A5-5E114D4AC585}" type="presParOf" srcId="{C44DEE6B-7120-4558-A39E-A562F4ADFED2}" destId="{1571B405-E67D-4C48-B45E-C2E3838E8B01}" srcOrd="0" destOrd="0" presId="urn:microsoft.com/office/officeart/2008/layout/HorizontalMultiLevelHierarchy"/>
    <dgm:cxn modelId="{65F437ED-7C1C-4905-89FE-A067BB41A900}" type="presParOf" srcId="{979C84E8-9EC8-4621-8084-BAFDC4502831}" destId="{177DA262-266F-4CE4-9C3E-2213529B4992}" srcOrd="5" destOrd="0" presId="urn:microsoft.com/office/officeart/2008/layout/HorizontalMultiLevelHierarchy"/>
    <dgm:cxn modelId="{D19213CE-A55E-4968-B858-C94572F84DE3}" type="presParOf" srcId="{177DA262-266F-4CE4-9C3E-2213529B4992}" destId="{14CF79D7-825D-4D25-AF94-E0C5C5FC2E73}" srcOrd="0" destOrd="0" presId="urn:microsoft.com/office/officeart/2008/layout/HorizontalMultiLevelHierarchy"/>
    <dgm:cxn modelId="{C88BEB32-BAC0-401A-A206-AC2DF1B4C87F}" type="presParOf" srcId="{177DA262-266F-4CE4-9C3E-2213529B4992}" destId="{0F181961-651D-4316-94B8-06A6BD406A41}"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4DEE6B-7120-4558-A39E-A562F4ADFED2}">
      <dsp:nvSpPr>
        <dsp:cNvPr id="0" name=""/>
        <dsp:cNvSpPr/>
      </dsp:nvSpPr>
      <dsp:spPr>
        <a:xfrm>
          <a:off x="1281242" y="2529681"/>
          <a:ext cx="630599" cy="1201598"/>
        </a:xfrm>
        <a:custGeom>
          <a:avLst/>
          <a:gdLst/>
          <a:ahLst/>
          <a:cxnLst/>
          <a:rect l="0" t="0" r="0" b="0"/>
          <a:pathLst>
            <a:path>
              <a:moveTo>
                <a:pt x="0" y="0"/>
              </a:moveTo>
              <a:lnTo>
                <a:pt x="315299" y="0"/>
              </a:lnTo>
              <a:lnTo>
                <a:pt x="315299" y="1201598"/>
              </a:lnTo>
              <a:lnTo>
                <a:pt x="630599" y="120159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a:off x="1562616" y="3096555"/>
        <a:ext cx="67850" cy="67850"/>
      </dsp:txXfrm>
    </dsp:sp>
    <dsp:sp modelId="{47F44C14-E76B-4E1D-9B9B-97BD7E13C317}">
      <dsp:nvSpPr>
        <dsp:cNvPr id="0" name=""/>
        <dsp:cNvSpPr/>
      </dsp:nvSpPr>
      <dsp:spPr>
        <a:xfrm>
          <a:off x="1281242" y="2483961"/>
          <a:ext cx="630599" cy="91440"/>
        </a:xfrm>
        <a:custGeom>
          <a:avLst/>
          <a:gdLst/>
          <a:ahLst/>
          <a:cxnLst/>
          <a:rect l="0" t="0" r="0" b="0"/>
          <a:pathLst>
            <a:path>
              <a:moveTo>
                <a:pt x="0" y="45720"/>
              </a:moveTo>
              <a:lnTo>
                <a:pt x="630599" y="457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a:off x="1580776" y="2513916"/>
        <a:ext cx="31529" cy="31529"/>
      </dsp:txXfrm>
    </dsp:sp>
    <dsp:sp modelId="{72EB185C-EC44-4AED-BD07-3D555524DAF5}">
      <dsp:nvSpPr>
        <dsp:cNvPr id="0" name=""/>
        <dsp:cNvSpPr/>
      </dsp:nvSpPr>
      <dsp:spPr>
        <a:xfrm>
          <a:off x="1281242" y="1328082"/>
          <a:ext cx="630599" cy="1201598"/>
        </a:xfrm>
        <a:custGeom>
          <a:avLst/>
          <a:gdLst/>
          <a:ahLst/>
          <a:cxnLst/>
          <a:rect l="0" t="0" r="0" b="0"/>
          <a:pathLst>
            <a:path>
              <a:moveTo>
                <a:pt x="0" y="1201598"/>
              </a:moveTo>
              <a:lnTo>
                <a:pt x="315299" y="1201598"/>
              </a:lnTo>
              <a:lnTo>
                <a:pt x="315299" y="0"/>
              </a:lnTo>
              <a:lnTo>
                <a:pt x="630599"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a:off x="1562616" y="1894956"/>
        <a:ext cx="67850" cy="67850"/>
      </dsp:txXfrm>
    </dsp:sp>
    <dsp:sp modelId="{E9271D0F-7490-497A-8DDC-BE9986087525}">
      <dsp:nvSpPr>
        <dsp:cNvPr id="0" name=""/>
        <dsp:cNvSpPr/>
      </dsp:nvSpPr>
      <dsp:spPr>
        <a:xfrm rot="16200000">
          <a:off x="-1729078" y="2049042"/>
          <a:ext cx="5059363" cy="9612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2489200">
            <a:lnSpc>
              <a:spcPct val="90000"/>
            </a:lnSpc>
            <a:spcBef>
              <a:spcPct val="0"/>
            </a:spcBef>
            <a:spcAft>
              <a:spcPct val="35000"/>
            </a:spcAft>
            <a:buNone/>
          </a:pPr>
          <a:r>
            <a:rPr lang="en-US" sz="5600" kern="1200" dirty="0"/>
            <a:t>Business Name </a:t>
          </a:r>
          <a:endParaRPr lang="en-CA" sz="5600" kern="1200" dirty="0"/>
        </a:p>
      </dsp:txBody>
      <dsp:txXfrm>
        <a:off x="-1729078" y="2049042"/>
        <a:ext cx="5059363" cy="961278"/>
      </dsp:txXfrm>
    </dsp:sp>
    <dsp:sp modelId="{89815A01-88AA-4C30-AB6F-A6283FFF1E1E}">
      <dsp:nvSpPr>
        <dsp:cNvPr id="0" name=""/>
        <dsp:cNvSpPr/>
      </dsp:nvSpPr>
      <dsp:spPr>
        <a:xfrm>
          <a:off x="1911841" y="847443"/>
          <a:ext cx="3152995" cy="9612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dirty="0"/>
            <a:t>Authorized Buyer 1</a:t>
          </a:r>
          <a:endParaRPr lang="en-CA" sz="3400" kern="1200" dirty="0"/>
        </a:p>
      </dsp:txBody>
      <dsp:txXfrm>
        <a:off x="1911841" y="847443"/>
        <a:ext cx="3152995" cy="961278"/>
      </dsp:txXfrm>
    </dsp:sp>
    <dsp:sp modelId="{D7C27BF0-9DBF-4538-B4B4-72D418069A9C}">
      <dsp:nvSpPr>
        <dsp:cNvPr id="0" name=""/>
        <dsp:cNvSpPr/>
      </dsp:nvSpPr>
      <dsp:spPr>
        <a:xfrm>
          <a:off x="1911841" y="2049042"/>
          <a:ext cx="3152995" cy="9612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dirty="0"/>
            <a:t>Authorized Buyer 2 </a:t>
          </a:r>
          <a:endParaRPr lang="en-CA" sz="3400" kern="1200" dirty="0"/>
        </a:p>
      </dsp:txBody>
      <dsp:txXfrm>
        <a:off x="1911841" y="2049042"/>
        <a:ext cx="3152995" cy="961278"/>
      </dsp:txXfrm>
    </dsp:sp>
    <dsp:sp modelId="{14CF79D7-825D-4D25-AF94-E0C5C5FC2E73}">
      <dsp:nvSpPr>
        <dsp:cNvPr id="0" name=""/>
        <dsp:cNvSpPr/>
      </dsp:nvSpPr>
      <dsp:spPr>
        <a:xfrm>
          <a:off x="1911841" y="3250640"/>
          <a:ext cx="3152995" cy="9612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dirty="0"/>
            <a:t>Authorized Buyer 3 </a:t>
          </a:r>
          <a:endParaRPr lang="en-CA" sz="3400" kern="1200" dirty="0"/>
        </a:p>
      </dsp:txBody>
      <dsp:txXfrm>
        <a:off x="1911841" y="3250640"/>
        <a:ext cx="3152995" cy="961278"/>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2FE11C-03BC-4466-92C2-9C055339FC11}" type="datetimeFigureOut">
              <a:rPr lang="en-CA" smtClean="0"/>
              <a:t>2026-05-15</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A2552B-EBE6-47DA-829D-1AD4CFFF0095}" type="slidenum">
              <a:rPr lang="en-CA" smtClean="0"/>
              <a:t>‹#›</a:t>
            </a:fld>
            <a:endParaRPr lang="en-CA"/>
          </a:p>
        </p:txBody>
      </p:sp>
    </p:spTree>
    <p:extLst>
      <p:ext uri="{BB962C8B-B14F-4D97-AF65-F5344CB8AC3E}">
        <p14:creationId xmlns:p14="http://schemas.microsoft.com/office/powerpoint/2010/main" val="24343609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7F178F-53CD-45C3-B6F3-A862B9563FAC}"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6992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9288" y="1054100"/>
            <a:ext cx="5711825" cy="3213100"/>
          </a:xfrm>
        </p:spPr>
      </p:sp>
      <p:sp>
        <p:nvSpPr>
          <p:cNvPr id="3" name="Notes Placeholder 2"/>
          <p:cNvSpPr>
            <a:spLocks noGrp="1"/>
          </p:cNvSpPr>
          <p:nvPr>
            <p:ph type="body" idx="1"/>
          </p:nvPr>
        </p:nvSpPr>
        <p:spPr/>
        <p:txBody>
          <a:bodyPr/>
          <a:lstStyle/>
          <a:p>
            <a:pPr algn="l"/>
            <a:endParaRPr lang="en-US" sz="9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7CE98-759E-415A-9938-76B8F6193E5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3088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hree ways to use your pro </a:t>
            </a:r>
            <a:r>
              <a:rPr lang="en-US" dirty="0" err="1"/>
              <a:t>Xtra</a:t>
            </a:r>
            <a:r>
              <a:rPr lang="en-US" dirty="0"/>
              <a:t> ID in stores the first is when you are checking out you can select enter your pro extra ID and input your 10 digit phone number Alternatively you can scan your pro extra ID barcode when you are checking out you can access this through the app by logging into your account or you can go to homedepot.ca log into your account and click on the ID icon which will pop up your pro </a:t>
            </a:r>
            <a:r>
              <a:rPr lang="en-US" dirty="0" err="1"/>
              <a:t>Xtra</a:t>
            </a:r>
            <a:r>
              <a:rPr lang="en-US" dirty="0"/>
              <a:t> ID which can be scanned finally if you have a Home Depot commercial credit card that is linked to your pro extra account you can use that if the credit card is linked you automatically will get rewarded on all your purchases you don't need to Additionally scan or type in your pro extra ID when you are checking ou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7A7388-0ABE-4DCF-9E5A-7A70820B569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3999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s a pro extra member you get rewarded four times a year </a:t>
            </a:r>
          </a:p>
          <a:p>
            <a:pPr marL="171450" indent="-171450">
              <a:buFontTx/>
              <a:buChar char="-"/>
            </a:pPr>
            <a:r>
              <a:rPr lang="en-US" dirty="0"/>
              <a:t>the currency of the pro extra program is gift cards. in February may August and November you will receive a payout for how much you earn that quarter </a:t>
            </a:r>
          </a:p>
          <a:p>
            <a:pPr marL="171450" indent="-171450">
              <a:buFontTx/>
              <a:buChar char="-"/>
            </a:pPr>
            <a:r>
              <a:rPr lang="en-US" dirty="0"/>
              <a:t>the payout that you receive depends on how much you spent and the tear that you fall into </a:t>
            </a:r>
          </a:p>
          <a:p>
            <a:pPr marL="171450" indent="-171450">
              <a:buFontTx/>
              <a:buChar char="-"/>
            </a:pPr>
            <a:r>
              <a:rPr lang="en-US" dirty="0"/>
              <a:t>you can either often to physical gift cards or you can opt into electronic gift cards </a:t>
            </a:r>
          </a:p>
          <a:p>
            <a:pPr marL="171450" indent="-171450">
              <a:buFontTx/>
              <a:buChar char="-"/>
            </a:pPr>
            <a:r>
              <a:rPr lang="en-US" dirty="0"/>
              <a:t>to get rewarded you must be a member so any purchases you made prior to becoming a pro extra member won't be bonused on you must use your pro extra ID when you're shopping or you need to add the receipt after you make a purchase if you didn't use your pro extra ID to your account so you can get rewarded for that purchase </a:t>
            </a:r>
          </a:p>
          <a:p>
            <a:pPr marL="171450" indent="-171450">
              <a:buFontTx/>
              <a:buChar char="-"/>
            </a:pPr>
            <a:r>
              <a:rPr lang="en-US" dirty="0"/>
              <a:t>and finally you need to add the receipt within that quarter </a:t>
            </a:r>
          </a:p>
          <a:p>
            <a:pPr marL="171450" indent="-171450">
              <a:buFontTx/>
              <a:buChar char="-"/>
            </a:pPr>
            <a:r>
              <a:rPr lang="en-US" dirty="0"/>
              <a:t>For example if it if it if you made a purchase in February you must add the receipt to your account between February 1st and April 30th to get rewarded for that purchase if you do not add your receipt during that. But you added after let's say sometime in may or June you won't get gift card reward for that purchase but that amount will be added to your total annual spend and as a reminder your total annual spend is what dictates the reward tier that you fall into so it's always worth adding in that receipt even if it's outside of the quarter because that might move you from a silver to a gold tier member or gold to platinum to your member and ultimately the tier that you fall into will determine the percentage back that you were receiving in gift cards </a:t>
            </a:r>
          </a:p>
          <a:p>
            <a:pPr marL="0" indent="0">
              <a:buFontTx/>
              <a:buNone/>
            </a:pPr>
            <a:endParaRPr lang="en-US"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7A7388-0ABE-4DCF-9E5A-7A70820B569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57002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6" Type="http://schemas.openxmlformats.org/officeDocument/2006/relationships/image" Target="../media/image12.png"/><Relationship Id="rId5" Type="http://schemas.openxmlformats.org/officeDocument/2006/relationships/image" Target="../media/image4.jpeg"/><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Intro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1117603" y="1676405"/>
            <a:ext cx="7823200" cy="2289175"/>
          </a:xfrm>
          <a:prstGeom prst="rect">
            <a:avLst/>
          </a:prstGeom>
        </p:spPr>
        <p:txBody>
          <a:bodyPr anchor="b">
            <a:normAutofit/>
          </a:bodyPr>
          <a:lstStyle>
            <a:lvl1pPr algn="l">
              <a:defRPr sz="400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1117600" y="4504944"/>
            <a:ext cx="8534400" cy="1085088"/>
          </a:xfrm>
        </p:spPr>
        <p:txBody>
          <a:bodyPr>
            <a:normAutofit/>
          </a:bodyPr>
          <a:lstStyle>
            <a:lvl1pPr marL="0" indent="0" algn="l">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78483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94083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4"/>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Tree>
    <p:extLst>
      <p:ext uri="{BB962C8B-B14F-4D97-AF65-F5344CB8AC3E}">
        <p14:creationId xmlns:p14="http://schemas.microsoft.com/office/powerpoint/2010/main" val="2776556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64050"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31915"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61090"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8408132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Click to edit Master text styles</a:t>
            </a:r>
          </a:p>
        </p:txBody>
      </p:sp>
    </p:spTree>
    <p:extLst>
      <p:ext uri="{BB962C8B-B14F-4D97-AF65-F5344CB8AC3E}">
        <p14:creationId xmlns:p14="http://schemas.microsoft.com/office/powerpoint/2010/main" val="364858221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9" name="Chart Placeholder 2"/>
          <p:cNvSpPr>
            <a:spLocks noGrp="1"/>
          </p:cNvSpPr>
          <p:nvPr>
            <p:ph type="chart" sz="quarter" idx="24"/>
          </p:nvPr>
        </p:nvSpPr>
        <p:spPr>
          <a:xfrm>
            <a:off x="354313" y="2125013"/>
            <a:ext cx="5608320"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9892569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341221" y="2125013"/>
            <a:ext cx="534912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Tree>
    <p:extLst>
      <p:ext uri="{BB962C8B-B14F-4D97-AF65-F5344CB8AC3E}">
        <p14:creationId xmlns:p14="http://schemas.microsoft.com/office/powerpoint/2010/main" val="72194148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Tree>
    <p:extLst>
      <p:ext uri="{BB962C8B-B14F-4D97-AF65-F5344CB8AC3E}">
        <p14:creationId xmlns:p14="http://schemas.microsoft.com/office/powerpoint/2010/main" val="18481912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3423715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2726378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0715228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BD76D76-1DDD-4A53-8C1C-2E45B77C1C18}"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41254337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83173026"/>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30915284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3139584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6896138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7041756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a:prstGeom prst="rect">
            <a:avLst/>
          </a:prstGeo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28249465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2919990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966913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90500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140999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 Footer">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564899" y="6056381"/>
            <a:ext cx="10058400" cy="365125"/>
          </a:xfrm>
          <a:prstGeom prst="rect">
            <a:avLst/>
          </a:prstGeom>
        </p:spPr>
        <p:txBody>
          <a:bodyPr/>
          <a:lstStyle>
            <a:lvl1pPr>
              <a:defRPr sz="1600" b="1">
                <a:solidFill>
                  <a:schemeClr val="tx1"/>
                </a:solidFill>
                <a:latin typeface="Arial" panose="020B0604020202020204" pitchFamily="34" charset="0"/>
                <a:cs typeface="Arial" panose="020B0604020202020204" pitchFamily="34" charset="0"/>
              </a:defRPr>
            </a:lvl1pPr>
          </a:lstStyle>
          <a:p>
            <a:endParaRPr lang="en-US" dirty="0">
              <a:solidFill>
                <a:srgbClr val="1C1C1C"/>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BD76D76-1DDD-4A53-8C1C-2E45B77C1C18}"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64516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11611321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291001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296343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48896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202772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717869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920392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563651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Tree>
    <p:extLst>
      <p:ext uri="{BB962C8B-B14F-4D97-AF65-F5344CB8AC3E}">
        <p14:creationId xmlns:p14="http://schemas.microsoft.com/office/powerpoint/2010/main" val="20023354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8396560" y="1880213"/>
            <a:ext cx="329184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8396560" y="4256213"/>
            <a:ext cx="329184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Tree>
    <p:extLst>
      <p:ext uri="{BB962C8B-B14F-4D97-AF65-F5344CB8AC3E}">
        <p14:creationId xmlns:p14="http://schemas.microsoft.com/office/powerpoint/2010/main" val="24325100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ransition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2080768" y="1524000"/>
            <a:ext cx="8144256" cy="3429000"/>
          </a:xfrm>
          <a:prstGeom prst="rect">
            <a:avLst/>
          </a:prstGeom>
        </p:spPr>
        <p:txBody>
          <a:bodyPr>
            <a:normAutofit/>
          </a:bodyPr>
          <a:lstStyle>
            <a:lvl1pPr>
              <a:defRPr sz="4000">
                <a:solidFill>
                  <a:schemeClr val="tx2"/>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1BD76D76-1DDD-4A53-8C1C-2E45B77C1C18}"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3327830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700214"/>
            <a:ext cx="36576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40265" y="1700214"/>
            <a:ext cx="3657600"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0957"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0959"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40265"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427025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5114964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Tree>
    <p:extLst>
      <p:ext uri="{BB962C8B-B14F-4D97-AF65-F5344CB8AC3E}">
        <p14:creationId xmlns:p14="http://schemas.microsoft.com/office/powerpoint/2010/main" val="42423732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280297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6687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0023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C6BDDE3B-6E17-4A89-9F93-DBB317C0A6AD}" type="slidenum">
              <a:rPr lang="en-US" smtClean="0"/>
              <a:t>‹#›</a:t>
            </a:fld>
            <a:endParaRPr lang="en-US" dirty="0"/>
          </a:p>
        </p:txBody>
      </p:sp>
    </p:spTree>
    <p:extLst>
      <p:ext uri="{BB962C8B-B14F-4D97-AF65-F5344CB8AC3E}">
        <p14:creationId xmlns:p14="http://schemas.microsoft.com/office/powerpoint/2010/main" val="4140272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5819971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2354957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73249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Slide Number Placeholder 4"/>
          <p:cNvSpPr>
            <a:spLocks noGrp="1"/>
          </p:cNvSpPr>
          <p:nvPr>
            <p:ph type="sldNum" sz="quarter" idx="12"/>
          </p:nvPr>
        </p:nvSpPr>
        <p:spPr/>
        <p:txBody>
          <a:bodyPr/>
          <a:lstStyle/>
          <a:p>
            <a:fld id="{1BD76D76-1DDD-4A53-8C1C-2E45B77C1C18}"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20724367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Intro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t="345" b="345"/>
          <a:stretch/>
        </p:blipFill>
        <p:spPr>
          <a:xfrm>
            <a:off x="0" y="0"/>
            <a:ext cx="12192000" cy="1828800"/>
          </a:xfrm>
          <a:prstGeom prst="rect">
            <a:avLst/>
          </a:prstGeom>
          <a:solidFill>
            <a:schemeClr val="bg1"/>
          </a:solidFill>
          <a:ln>
            <a:noFill/>
          </a:ln>
        </p:spPr>
      </p:pic>
      <p:sp>
        <p:nvSpPr>
          <p:cNvPr id="2" name="Title 1"/>
          <p:cNvSpPr>
            <a:spLocks noGrp="1"/>
          </p:cNvSpPr>
          <p:nvPr>
            <p:ph type="ctrTitle"/>
          </p:nvPr>
        </p:nvSpPr>
        <p:spPr>
          <a:xfrm>
            <a:off x="1117600" y="1676401"/>
            <a:ext cx="7823200" cy="2289175"/>
          </a:xfrm>
        </p:spPr>
        <p:txBody>
          <a:bodyPr anchor="b">
            <a:normAutofit/>
          </a:bodyPr>
          <a:lstStyle>
            <a:lvl1pPr algn="l">
              <a:defRPr sz="4000">
                <a:solidFill>
                  <a:srgbClr val="F45F20"/>
                </a:solidFill>
              </a:defRPr>
            </a:lvl1pPr>
          </a:lstStyle>
          <a:p>
            <a:r>
              <a:rPr lang="en-US"/>
              <a:t>Click to edit Master title style</a:t>
            </a:r>
          </a:p>
        </p:txBody>
      </p:sp>
      <p:sp>
        <p:nvSpPr>
          <p:cNvPr id="3" name="Subtitle 2"/>
          <p:cNvSpPr>
            <a:spLocks noGrp="1"/>
          </p:cNvSpPr>
          <p:nvPr>
            <p:ph type="subTitle" idx="1"/>
          </p:nvPr>
        </p:nvSpPr>
        <p:spPr>
          <a:xfrm>
            <a:off x="1117600" y="4504944"/>
            <a:ext cx="8534400" cy="1085088"/>
          </a:xfrm>
        </p:spPr>
        <p:txBody>
          <a:bodyPr>
            <a:normAutofit/>
          </a:bodyPr>
          <a:lstStyle>
            <a:lvl1pPr marL="0" indent="0" algn="l">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rcRect t="112" b="112"/>
          <a:stretch/>
        </p:blipFill>
        <p:spPr>
          <a:xfrm>
            <a:off x="10134600" y="4952999"/>
            <a:ext cx="2057400" cy="1888067"/>
          </a:xfrm>
          <a:prstGeom prst="rect">
            <a:avLst/>
          </a:prstGeom>
          <a:noFill/>
          <a:ln>
            <a:noFill/>
          </a:ln>
        </p:spPr>
      </p:pic>
      <p:cxnSp>
        <p:nvCxnSpPr>
          <p:cNvPr id="6" name="Straight Connector 5"/>
          <p:cNvCxnSpPr/>
          <p:nvPr userDrawn="1"/>
        </p:nvCxnSpPr>
        <p:spPr>
          <a:xfrm>
            <a:off x="1210733" y="4241802"/>
            <a:ext cx="9601200" cy="0"/>
          </a:xfrm>
          <a:prstGeom prst="line">
            <a:avLst/>
          </a:prstGeom>
          <a:ln w="19050">
            <a:solidFill>
              <a:srgbClr val="F45F2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18499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45F20"/>
                </a:solidFill>
              </a:defRPr>
            </a:lvl1pPr>
          </a:lstStyle>
          <a:p>
            <a:r>
              <a:rPr lang="en-US"/>
              <a:t>Click to edit Master title style</a:t>
            </a:r>
          </a:p>
        </p:txBody>
      </p:sp>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6BDDE3B-6E17-4A89-9F93-DBB317C0A6AD}" type="slidenum">
              <a:rPr lang="en-US" smtClean="0"/>
              <a:t>‹#›</a:t>
            </a:fld>
            <a:endParaRPr lang="en-US"/>
          </a:p>
        </p:txBody>
      </p:sp>
    </p:spTree>
    <p:extLst>
      <p:ext uri="{BB962C8B-B14F-4D97-AF65-F5344CB8AC3E}">
        <p14:creationId xmlns:p14="http://schemas.microsoft.com/office/powerpoint/2010/main" val="5164343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45F20"/>
                </a:solidFill>
              </a:defRPr>
            </a:lvl1pPr>
          </a:lstStyle>
          <a:p>
            <a:r>
              <a:rPr lang="en-US"/>
              <a:t>Click to edit Master title style</a:t>
            </a:r>
          </a:p>
        </p:txBody>
      </p:sp>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C6BDDE3B-6E17-4A89-9F93-DBB317C0A6AD}" type="slidenum">
              <a:rPr lang="en-US" smtClean="0"/>
              <a:pPr/>
              <a:t>‹#›</a:t>
            </a:fld>
            <a:endParaRPr lang="en-US"/>
          </a:p>
        </p:txBody>
      </p:sp>
      <p:sp>
        <p:nvSpPr>
          <p:cNvPr id="8" name="Text Placeholder 7"/>
          <p:cNvSpPr>
            <a:spLocks noGrp="1"/>
          </p:cNvSpPr>
          <p:nvPr>
            <p:ph type="body" sz="quarter" idx="13"/>
          </p:nvPr>
        </p:nvSpPr>
        <p:spPr>
          <a:xfrm>
            <a:off x="390144" y="6019800"/>
            <a:ext cx="10277856" cy="381000"/>
          </a:xfrm>
        </p:spPr>
        <p:txBody>
          <a:bodyPr anchor="ctr"/>
          <a:lstStyle>
            <a:lvl1pPr marL="0" indent="0">
              <a:buNone/>
              <a:defRPr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0094548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ransition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solidFill>
            <a:schemeClr val="bg1"/>
          </a:solidFill>
          <a:ln>
            <a:noFill/>
          </a:ln>
        </p:spPr>
      </p:pic>
      <p:sp>
        <p:nvSpPr>
          <p:cNvPr id="2" name="Title 1"/>
          <p:cNvSpPr>
            <a:spLocks noGrp="1"/>
          </p:cNvSpPr>
          <p:nvPr>
            <p:ph type="title"/>
          </p:nvPr>
        </p:nvSpPr>
        <p:spPr>
          <a:xfrm>
            <a:off x="2080768" y="1524000"/>
            <a:ext cx="8144256" cy="3429000"/>
          </a:xfrm>
        </p:spPr>
        <p:txBody>
          <a:bodyPr>
            <a:normAutofit/>
          </a:bodyPr>
          <a:lstStyle>
            <a:lvl1pPr>
              <a:defRPr sz="4000">
                <a:solidFill>
                  <a:srgbClr val="F45F20"/>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C6BDDE3B-6E17-4A89-9F93-DBB317C0A6AD}" type="slidenum">
              <a:rPr lang="en-US" smtClean="0"/>
              <a:t>‹#›</a:t>
            </a:fld>
            <a:endParaRPr lang="en-US"/>
          </a:p>
        </p:txBody>
      </p:sp>
      <p:pic>
        <p:nvPicPr>
          <p:cNvPr id="7" name="Picture 6">
            <a:extLst>
              <a:ext uri="{FF2B5EF4-FFF2-40B4-BE49-F238E27FC236}">
                <a16:creationId xmlns:a16="http://schemas.microsoft.com/office/drawing/2014/main" id="{0DDCAE33-25B9-EC4F-8F7E-229AE93CF31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744200" y="5410200"/>
            <a:ext cx="1447800" cy="1447800"/>
          </a:xfrm>
          <a:prstGeom prst="rect">
            <a:avLst/>
          </a:prstGeom>
          <a:noFill/>
          <a:ln>
            <a:noFill/>
          </a:ln>
        </p:spPr>
      </p:pic>
    </p:spTree>
    <p:extLst>
      <p:ext uri="{BB962C8B-B14F-4D97-AF65-F5344CB8AC3E}">
        <p14:creationId xmlns:p14="http://schemas.microsoft.com/office/powerpoint/2010/main" val="12582491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313"/>
            <a:ext cx="12192000" cy="6858000"/>
          </a:xfrm>
          <a:prstGeom prst="rect">
            <a:avLst/>
          </a:prstGeom>
          <a:solidFill>
            <a:schemeClr val="bg1"/>
          </a:solidFill>
          <a:ln>
            <a:noFill/>
          </a:ln>
        </p:spPr>
      </p:pic>
      <p:sp>
        <p:nvSpPr>
          <p:cNvPr id="5" name="Slide Number Placeholder 4"/>
          <p:cNvSpPr>
            <a:spLocks noGrp="1"/>
          </p:cNvSpPr>
          <p:nvPr>
            <p:ph type="sldNum" sz="quarter" idx="12"/>
          </p:nvPr>
        </p:nvSpPr>
        <p:spPr/>
        <p:txBody>
          <a:bodyPr/>
          <a:lstStyle/>
          <a:p>
            <a:fld id="{C6BDDE3B-6E17-4A89-9F93-DBB317C0A6AD}" type="slidenum">
              <a:rPr lang="en-US" smtClean="0"/>
              <a:t>‹#›</a:t>
            </a:fld>
            <a:endParaRPr lang="en-US"/>
          </a:p>
        </p:txBody>
      </p:sp>
      <p:pic>
        <p:nvPicPr>
          <p:cNvPr id="6" name="Picture 5">
            <a:extLst>
              <a:ext uri="{FF2B5EF4-FFF2-40B4-BE49-F238E27FC236}">
                <a16:creationId xmlns:a16="http://schemas.microsoft.com/office/drawing/2014/main" id="{7C92F136-FBB0-A141-B9E6-6C73886DAB4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744200" y="5410200"/>
            <a:ext cx="1447800" cy="1447800"/>
          </a:xfrm>
          <a:prstGeom prst="rect">
            <a:avLst/>
          </a:prstGeom>
          <a:noFill/>
          <a:ln>
            <a:noFill/>
          </a:ln>
        </p:spPr>
      </p:pic>
    </p:spTree>
    <p:extLst>
      <p:ext uri="{BB962C8B-B14F-4D97-AF65-F5344CB8AC3E}">
        <p14:creationId xmlns:p14="http://schemas.microsoft.com/office/powerpoint/2010/main" val="17936073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Content Slide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45F20"/>
                </a:solidFill>
              </a:defRPr>
            </a:lvl1pPr>
          </a:lstStyle>
          <a:p>
            <a:r>
              <a:rPr lang="en-US"/>
              <a:t>Click to edit Master title style</a:t>
            </a:r>
          </a:p>
        </p:txBody>
      </p:sp>
      <p:sp>
        <p:nvSpPr>
          <p:cNvPr id="3" name="Content Placeholder 2"/>
          <p:cNvSpPr>
            <a:spLocks noGrp="1"/>
          </p:cNvSpPr>
          <p:nvPr>
            <p:ph sz="half" idx="1"/>
          </p:nvPr>
        </p:nvSpPr>
        <p:spPr>
          <a:xfrm>
            <a:off x="459232" y="1066801"/>
            <a:ext cx="5384800" cy="5059363"/>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47232" y="1066801"/>
            <a:ext cx="5384800" cy="5059363"/>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C6BDDE3B-6E17-4A89-9F93-DBB317C0A6AD}" type="slidenum">
              <a:rPr lang="en-US" smtClean="0"/>
              <a:t>‹#›</a:t>
            </a:fld>
            <a:endParaRPr lang="en-US"/>
          </a:p>
        </p:txBody>
      </p:sp>
    </p:spTree>
    <p:extLst>
      <p:ext uri="{BB962C8B-B14F-4D97-AF65-F5344CB8AC3E}">
        <p14:creationId xmlns:p14="http://schemas.microsoft.com/office/powerpoint/2010/main" val="28729024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45F20"/>
                </a:solidFill>
              </a:defRPr>
            </a:lvl1pPr>
          </a:lstStyle>
          <a:p>
            <a:r>
              <a:rPr lang="en-US"/>
              <a:t>Click to edit Master title style</a:t>
            </a:r>
          </a:p>
        </p:txBody>
      </p:sp>
      <p:sp>
        <p:nvSpPr>
          <p:cNvPr id="3" name="Text Placeholder 2"/>
          <p:cNvSpPr>
            <a:spLocks noGrp="1"/>
          </p:cNvSpPr>
          <p:nvPr>
            <p:ph type="body" idx="1"/>
          </p:nvPr>
        </p:nvSpPr>
        <p:spPr>
          <a:xfrm>
            <a:off x="479552" y="1066800"/>
            <a:ext cx="5386917"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79552" y="1706562"/>
            <a:ext cx="5386917" cy="3951288"/>
          </a:xfrm>
        </p:spPr>
        <p:txBody>
          <a:bodyPr/>
          <a:lstStyle>
            <a:lvl1pPr marL="274320" indent="-274320">
              <a:buClr>
                <a:schemeClr val="tx2"/>
              </a:buClr>
              <a:buFont typeface="Wingdings" panose="05000000000000000000" pitchFamily="2" charset="2"/>
              <a:buChar char="§"/>
              <a:defRPr sz="2000"/>
            </a:lvl1pPr>
            <a:lvl2pPr>
              <a:buClrTx/>
              <a:defRPr sz="1800"/>
            </a:lvl2pPr>
            <a:lvl3pPr>
              <a:buClrTx/>
              <a:defRPr sz="1800"/>
            </a:lvl3pPr>
            <a:lvl4pPr>
              <a:buClrTx/>
              <a:defRPr sz="1800"/>
            </a:lvl4pPr>
            <a:lvl5pPr>
              <a:buClrTx/>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63320" y="1066800"/>
            <a:ext cx="5389033"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63320" y="1706562"/>
            <a:ext cx="5389033" cy="3951288"/>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C6BDDE3B-6E17-4A89-9F93-DBB317C0A6AD}" type="slidenum">
              <a:rPr lang="en-US" smtClean="0"/>
              <a:t>‹#›</a:t>
            </a:fld>
            <a:endParaRPr lang="en-US"/>
          </a:p>
        </p:txBody>
      </p:sp>
    </p:spTree>
    <p:extLst>
      <p:ext uri="{BB962C8B-B14F-4D97-AF65-F5344CB8AC3E}">
        <p14:creationId xmlns:p14="http://schemas.microsoft.com/office/powerpoint/2010/main" val="40822203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Intr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r="-33337" b="73333"/>
          <a:stretch/>
        </p:blipFill>
        <p:spPr>
          <a:xfrm>
            <a:off x="0" y="0"/>
            <a:ext cx="12192000" cy="1828800"/>
          </a:xfrm>
          <a:prstGeom prst="rect">
            <a:avLst/>
          </a:prstGeom>
          <a:solidFill>
            <a:schemeClr val="bg1"/>
          </a:solidFill>
          <a:ln>
            <a:noFill/>
          </a:ln>
        </p:spPr>
      </p:pic>
      <p:sp>
        <p:nvSpPr>
          <p:cNvPr id="2" name="Title 1"/>
          <p:cNvSpPr>
            <a:spLocks noGrp="1"/>
          </p:cNvSpPr>
          <p:nvPr>
            <p:ph type="ctrTitle"/>
          </p:nvPr>
        </p:nvSpPr>
        <p:spPr>
          <a:xfrm>
            <a:off x="1117600" y="1676401"/>
            <a:ext cx="7823200" cy="2289175"/>
          </a:xfrm>
        </p:spPr>
        <p:txBody>
          <a:bodyPr anchor="b">
            <a:normAutofit/>
          </a:bodyPr>
          <a:lstStyle>
            <a:lvl1pPr algn="l">
              <a:defRPr sz="40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117600" y="4504944"/>
            <a:ext cx="8534400" cy="1085088"/>
          </a:xfrm>
        </p:spPr>
        <p:txBody>
          <a:bodyPr>
            <a:normAutofit/>
          </a:bodyPr>
          <a:lstStyle>
            <a:lvl1pPr marL="0" indent="0" algn="l">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6" name="Straight Connector 5"/>
          <p:cNvCxnSpPr/>
          <p:nvPr userDrawn="1"/>
        </p:nvCxnSpPr>
        <p:spPr>
          <a:xfrm>
            <a:off x="1210733" y="4241802"/>
            <a:ext cx="9601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89166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C6BDDE3B-6E17-4A89-9F93-DBB317C0A6AD}" type="slidenum">
              <a:rPr lang="en-US" smtClean="0"/>
              <a:t>‹#›</a:t>
            </a:fld>
            <a:endParaRPr lang="en-US" dirty="0"/>
          </a:p>
        </p:txBody>
      </p:sp>
    </p:spTree>
    <p:extLst>
      <p:ext uri="{BB962C8B-B14F-4D97-AF65-F5344CB8AC3E}">
        <p14:creationId xmlns:p14="http://schemas.microsoft.com/office/powerpoint/2010/main" val="27891752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C6BDDE3B-6E17-4A89-9F93-DBB317C0A6AD}" type="slidenum">
              <a:rPr lang="en-US" smtClean="0"/>
              <a:pPr/>
              <a:t>‹#›</a:t>
            </a:fld>
            <a:endParaRPr lang="en-US" dirty="0"/>
          </a:p>
        </p:txBody>
      </p:sp>
      <p:sp>
        <p:nvSpPr>
          <p:cNvPr id="8" name="Text Placeholder 7"/>
          <p:cNvSpPr>
            <a:spLocks noGrp="1"/>
          </p:cNvSpPr>
          <p:nvPr>
            <p:ph type="body" sz="quarter" idx="13"/>
          </p:nvPr>
        </p:nvSpPr>
        <p:spPr>
          <a:xfrm>
            <a:off x="390144" y="6019800"/>
            <a:ext cx="10277856" cy="381000"/>
          </a:xfrm>
        </p:spPr>
        <p:txBody>
          <a:bodyPr anchor="ctr"/>
          <a:lstStyle>
            <a:lvl1pPr marL="0" indent="0">
              <a:buNone/>
              <a:defRPr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8068" y="5775324"/>
            <a:ext cx="775548" cy="798449"/>
          </a:xfrm>
          <a:prstGeom prst="rect">
            <a:avLst/>
          </a:prstGeom>
        </p:spPr>
      </p:pic>
    </p:spTree>
    <p:extLst>
      <p:ext uri="{BB962C8B-B14F-4D97-AF65-F5344CB8AC3E}">
        <p14:creationId xmlns:p14="http://schemas.microsoft.com/office/powerpoint/2010/main" val="2117703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2">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32" y="1066805"/>
            <a:ext cx="5384800" cy="5059363"/>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47232" y="1066805"/>
            <a:ext cx="5384800" cy="5059363"/>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1BD76D76-1DDD-4A53-8C1C-2E45B77C1C18}"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7450210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ent + Footer">
    <p:spTree>
      <p:nvGrpSpPr>
        <p:cNvPr id="1" name=""/>
        <p:cNvGrpSpPr/>
        <p:nvPr/>
      </p:nvGrpSpPr>
      <p:grpSpPr>
        <a:xfrm>
          <a:off x="0" y="0"/>
          <a:ext cx="0" cy="0"/>
          <a:chOff x="0" y="0"/>
          <a:chExt cx="0" cy="0"/>
        </a:xfrm>
      </p:grpSpPr>
      <p:sp>
        <p:nvSpPr>
          <p:cNvPr id="4" name="Rectangle 3"/>
          <p:cNvSpPr/>
          <p:nvPr userDrawn="1"/>
        </p:nvSpPr>
        <p:spPr>
          <a:xfrm>
            <a:off x="304800" y="5891939"/>
            <a:ext cx="10896600" cy="6047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C6BDDE3B-6E17-4A89-9F93-DBB317C0A6AD}" type="slidenum">
              <a:rPr lang="en-US" smtClean="0"/>
              <a:pPr/>
              <a:t>‹#›</a:t>
            </a:fld>
            <a:endParaRPr lang="en-US" dirty="0"/>
          </a:p>
        </p:txBody>
      </p:sp>
      <p:sp>
        <p:nvSpPr>
          <p:cNvPr id="8" name="Text Placeholder 7"/>
          <p:cNvSpPr>
            <a:spLocks noGrp="1"/>
          </p:cNvSpPr>
          <p:nvPr>
            <p:ph type="body" sz="quarter" idx="13"/>
          </p:nvPr>
        </p:nvSpPr>
        <p:spPr>
          <a:xfrm>
            <a:off x="390144" y="5968139"/>
            <a:ext cx="10277856" cy="381000"/>
          </a:xfrm>
        </p:spPr>
        <p:txBody>
          <a:bodyPr anchor="ctr"/>
          <a:lstStyle>
            <a:lvl1pPr marL="0" indent="0">
              <a:buNone/>
              <a:defRPr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8068" y="5775324"/>
            <a:ext cx="775548" cy="798449"/>
          </a:xfrm>
          <a:prstGeom prst="rect">
            <a:avLst/>
          </a:prstGeom>
        </p:spPr>
      </p:pic>
    </p:spTree>
    <p:extLst>
      <p:ext uri="{BB962C8B-B14F-4D97-AF65-F5344CB8AC3E}">
        <p14:creationId xmlns:p14="http://schemas.microsoft.com/office/powerpoint/2010/main" val="13650781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ransition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33333"/>
          <a:stretch/>
        </p:blipFill>
        <p:spPr>
          <a:xfrm>
            <a:off x="0" y="0"/>
            <a:ext cx="12192000" cy="6858000"/>
          </a:xfrm>
          <a:prstGeom prst="rect">
            <a:avLst/>
          </a:prstGeom>
          <a:solidFill>
            <a:schemeClr val="bg1"/>
          </a:solidFill>
          <a:ln>
            <a:noFill/>
          </a:ln>
        </p:spPr>
      </p:pic>
      <p:sp>
        <p:nvSpPr>
          <p:cNvPr id="2" name="Title 1"/>
          <p:cNvSpPr>
            <a:spLocks noGrp="1"/>
          </p:cNvSpPr>
          <p:nvPr>
            <p:ph type="title"/>
          </p:nvPr>
        </p:nvSpPr>
        <p:spPr>
          <a:xfrm>
            <a:off x="2080768" y="1524000"/>
            <a:ext cx="8144256" cy="3429000"/>
          </a:xfrm>
        </p:spPr>
        <p:txBody>
          <a:bodyPr>
            <a:normAutofit/>
          </a:bodyPr>
          <a:lstStyle>
            <a:lvl1pPr>
              <a:defRPr sz="4000">
                <a:solidFill>
                  <a:schemeClr val="tx2"/>
                </a:solidFill>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C6BDDE3B-6E17-4A89-9F93-DBB317C0A6AD}" type="slidenum">
              <a:rPr lang="en-US" smtClean="0"/>
              <a:t>‹#›</a:t>
            </a:fld>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98068" y="5775324"/>
            <a:ext cx="775548" cy="798449"/>
          </a:xfrm>
          <a:prstGeom prst="rect">
            <a:avLst/>
          </a:prstGeom>
        </p:spPr>
      </p:pic>
    </p:spTree>
    <p:extLst>
      <p:ext uri="{BB962C8B-B14F-4D97-AF65-F5344CB8AC3E}">
        <p14:creationId xmlns:p14="http://schemas.microsoft.com/office/powerpoint/2010/main" val="3875359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5" cstate="print">
            <a:extLst>
              <a:ext uri="{28A0092B-C50C-407E-A947-70E740481C1C}">
                <a14:useLocalDpi xmlns:a14="http://schemas.microsoft.com/office/drawing/2010/main" val="0"/>
              </a:ext>
            </a:extLst>
          </a:blip>
          <a:srcRect l="-33333"/>
          <a:stretch/>
        </p:blipFill>
        <p:spPr>
          <a:xfrm>
            <a:off x="0" y="0"/>
            <a:ext cx="12192000" cy="6858000"/>
          </a:xfrm>
          <a:prstGeom prst="rect">
            <a:avLst/>
          </a:prstGeom>
          <a:solidFill>
            <a:schemeClr val="bg1"/>
          </a:solidFill>
          <a:ln>
            <a:noFill/>
          </a:ln>
        </p:spPr>
      </p:pic>
      <p:sp>
        <p:nvSpPr>
          <p:cNvPr id="5" name="Slide Number Placeholder 4"/>
          <p:cNvSpPr>
            <a:spLocks noGrp="1"/>
          </p:cNvSpPr>
          <p:nvPr>
            <p:ph type="sldNum" sz="quarter" idx="12"/>
          </p:nvPr>
        </p:nvSpPr>
        <p:spPr/>
        <p:txBody>
          <a:bodyPr/>
          <a:lstStyle/>
          <a:p>
            <a:fld id="{C6BDDE3B-6E17-4A89-9F93-DBB317C0A6AD}" type="slidenum">
              <a:rPr lang="en-US" smtClean="0"/>
              <a:t>‹#›</a:t>
            </a:fld>
            <a:endParaRPr lang="en-US" dirty="0"/>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098068" y="5775324"/>
            <a:ext cx="775548" cy="798449"/>
          </a:xfrm>
          <a:prstGeom prst="rect">
            <a:avLst/>
          </a:prstGeom>
        </p:spPr>
      </p:pic>
    </p:spTree>
    <p:extLst>
      <p:ext uri="{BB962C8B-B14F-4D97-AF65-F5344CB8AC3E}">
        <p14:creationId xmlns:p14="http://schemas.microsoft.com/office/powerpoint/2010/main" val="10184544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Content Slide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459232" y="1066801"/>
            <a:ext cx="5384800" cy="5059363"/>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47232" y="1066801"/>
            <a:ext cx="5384800" cy="5059363"/>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C6BDDE3B-6E17-4A89-9F93-DBB317C0A6AD}" type="slidenum">
              <a:rPr lang="en-US" smtClean="0"/>
              <a:t>‹#›</a:t>
            </a:fld>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8068" y="5775324"/>
            <a:ext cx="775548" cy="798449"/>
          </a:xfrm>
          <a:prstGeom prst="rect">
            <a:avLst/>
          </a:prstGeom>
        </p:spPr>
      </p:pic>
    </p:spTree>
    <p:extLst>
      <p:ext uri="{BB962C8B-B14F-4D97-AF65-F5344CB8AC3E}">
        <p14:creationId xmlns:p14="http://schemas.microsoft.com/office/powerpoint/2010/main" val="10489910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479552" y="1066800"/>
            <a:ext cx="5386917"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79552" y="1706562"/>
            <a:ext cx="5386917" cy="3951288"/>
          </a:xfrm>
        </p:spPr>
        <p:txBody>
          <a:bodyPr/>
          <a:lstStyle>
            <a:lvl1pPr marL="274320" indent="-274320">
              <a:buClr>
                <a:schemeClr val="tx2"/>
              </a:buClr>
              <a:buFont typeface="Wingdings" panose="05000000000000000000" pitchFamily="2" charset="2"/>
              <a:buChar char="§"/>
              <a:defRPr sz="2000"/>
            </a:lvl1pPr>
            <a:lvl2pPr>
              <a:buClrTx/>
              <a:defRPr sz="1800"/>
            </a:lvl2pPr>
            <a:lvl3pPr>
              <a:buClrTx/>
              <a:defRPr sz="1800"/>
            </a:lvl3pPr>
            <a:lvl4pPr>
              <a:buClrTx/>
              <a:defRPr sz="1800"/>
            </a:lvl4pPr>
            <a:lvl5pPr>
              <a:buClrTx/>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063320" y="1066800"/>
            <a:ext cx="5389033"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63320" y="1706562"/>
            <a:ext cx="5389033" cy="3951288"/>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C6BDDE3B-6E17-4A89-9F93-DBB317C0A6AD}" type="slidenum">
              <a:rPr lang="en-US" smtClean="0"/>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8068" y="5775324"/>
            <a:ext cx="775548" cy="798449"/>
          </a:xfrm>
          <a:prstGeom prst="rect">
            <a:avLst/>
          </a:prstGeom>
        </p:spPr>
      </p:pic>
    </p:spTree>
    <p:extLst>
      <p:ext uri="{BB962C8B-B14F-4D97-AF65-F5344CB8AC3E}">
        <p14:creationId xmlns:p14="http://schemas.microsoft.com/office/powerpoint/2010/main" val="40917401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351538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9552" y="1066800"/>
            <a:ext cx="5386917"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79552" y="1706562"/>
            <a:ext cx="5386917" cy="3951288"/>
          </a:xfrm>
        </p:spPr>
        <p:txBody>
          <a:bodyPr/>
          <a:lstStyle>
            <a:lvl1pPr marL="274320" indent="-274320">
              <a:buClr>
                <a:schemeClr val="tx2"/>
              </a:buClr>
              <a:buFont typeface="Wingdings" panose="05000000000000000000" pitchFamily="2" charset="2"/>
              <a:buChar char="§"/>
              <a:defRPr sz="2000"/>
            </a:lvl1pPr>
            <a:lvl2pPr>
              <a:buClrTx/>
              <a:defRPr sz="1800"/>
            </a:lvl2pPr>
            <a:lvl3pPr>
              <a:buClrTx/>
              <a:defRPr sz="1800"/>
            </a:lvl3pPr>
            <a:lvl4pPr>
              <a:buClrTx/>
              <a:defRPr sz="1800"/>
            </a:lvl4pPr>
            <a:lvl5pPr>
              <a:buClrTx/>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63320" y="1066800"/>
            <a:ext cx="5389033"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63320" y="1706562"/>
            <a:ext cx="5389033" cy="3951288"/>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1BD76D76-1DDD-4A53-8C1C-2E45B77C1C18}"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1479327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84242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0093798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xml"/><Relationship Id="rId1"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 Id="rId9" Type="http://schemas.openxmlformats.org/officeDocument/2006/relationships/image" Target="../media/image7.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1.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2.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2.xml"/><Relationship Id="rId5" Type="http://schemas.openxmlformats.org/officeDocument/2006/relationships/slideLayout" Target="../slideLayouts/slideLayout61.xml"/><Relationship Id="rId10" Type="http://schemas.openxmlformats.org/officeDocument/2006/relationships/theme" Target="../theme/theme4.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 Placeholder 2"/>
          <p:cNvSpPr>
            <a:spLocks noGrp="1"/>
          </p:cNvSpPr>
          <p:nvPr>
            <p:ph type="body" idx="1"/>
          </p:nvPr>
        </p:nvSpPr>
        <p:spPr>
          <a:xfrm>
            <a:off x="390144" y="102076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20320" y="6548379"/>
            <a:ext cx="2844800" cy="365125"/>
          </a:xfrm>
          <a:prstGeom prst="rect">
            <a:avLst/>
          </a:prstGeom>
        </p:spPr>
        <p:txBody>
          <a:bodyPr vert="horz" lIns="91440" tIns="45720" rIns="91440" bIns="45720" rtlCol="0" anchor="ctr"/>
          <a:lstStyle>
            <a:lvl1pPr algn="l">
              <a:defRPr sz="900" b="1">
                <a:solidFill>
                  <a:schemeClr val="tx1"/>
                </a:solidFill>
                <a:latin typeface="Arial" panose="020B0604020202020204" pitchFamily="34" charset="0"/>
                <a:cs typeface="Arial" panose="020B0604020202020204" pitchFamily="34" charset="0"/>
              </a:defRPr>
            </a:lvl1pPr>
          </a:lstStyle>
          <a:p>
            <a:fld id="{1BD76D76-1DDD-4A53-8C1C-2E45B77C1C18}" type="slidenum">
              <a:rPr lang="en-US" smtClean="0">
                <a:solidFill>
                  <a:srgbClr val="1C1C1C"/>
                </a:solidFill>
              </a:rPr>
              <a:pPr/>
              <a:t>‹#›</a:t>
            </a:fld>
            <a:endParaRPr lang="en-US" dirty="0">
              <a:solidFill>
                <a:srgbClr val="1C1C1C"/>
              </a:solidFill>
            </a:endParaRPr>
          </a:p>
        </p:txBody>
      </p:sp>
      <p:sp>
        <p:nvSpPr>
          <p:cNvPr id="2" name="TextBox 1">
            <a:extLst>
              <a:ext uri="{FF2B5EF4-FFF2-40B4-BE49-F238E27FC236}">
                <a16:creationId xmlns:a16="http://schemas.microsoft.com/office/drawing/2014/main" id="{E27E0A0D-37B5-063A-D49E-7EC6976A6CAD}"/>
              </a:ext>
            </a:extLst>
          </p:cNvPr>
          <p:cNvSpPr txBox="1"/>
          <p:nvPr>
            <p:extLst>
              <p:ext uri="{1162E1C5-73C7-4A58-AE30-91384D911F3F}">
                <p184:classification xmlns:p184="http://schemas.microsoft.com/office/powerpoint/2018/4/main" val="ftr"/>
              </p:ext>
            </p:extLst>
          </p:nvPr>
        </p:nvSpPr>
        <p:spPr>
          <a:xfrm>
            <a:off x="5799138" y="6672580"/>
            <a:ext cx="615950" cy="121920"/>
          </a:xfrm>
          <a:prstGeom prst="rect">
            <a:avLst/>
          </a:prstGeom>
        </p:spPr>
        <p:txBody>
          <a:bodyPr horzOverflow="overflow" lIns="0" tIns="0" rIns="0" bIns="0">
            <a:spAutoFit/>
          </a:bodyPr>
          <a:lstStyle/>
          <a:p>
            <a:pPr algn="l"/>
            <a:r>
              <a:rPr lang="en-CA" sz="8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INTERNAL USE</a:t>
            </a:r>
          </a:p>
        </p:txBody>
      </p:sp>
    </p:spTree>
    <p:extLst>
      <p:ext uri="{BB962C8B-B14F-4D97-AF65-F5344CB8AC3E}">
        <p14:creationId xmlns:p14="http://schemas.microsoft.com/office/powerpoint/2010/main" val="42026360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Lst>
  <p:txStyles>
    <p:titleStyle>
      <a:lvl1pPr algn="l" defTabSz="914400" rtl="0" eaLnBrk="1" latinLnBrk="0" hangingPunct="1">
        <a:spcBef>
          <a:spcPct val="0"/>
        </a:spcBef>
        <a:buNone/>
        <a:defRPr sz="2800" b="1" kern="1200">
          <a:solidFill>
            <a:schemeClr val="tx2"/>
          </a:solidFill>
          <a:latin typeface="Arial" panose="020B0604020202020204" pitchFamily="34" charset="0"/>
          <a:ea typeface="+mj-ea"/>
          <a:cs typeface="Arial" panose="020B0604020202020204" pitchFamily="34" charset="0"/>
        </a:defRPr>
      </a:lvl1pPr>
    </p:titleStyle>
    <p:bodyStyle>
      <a:lvl1pPr marL="274320" indent="-274320" algn="l" defTabSz="914400" rtl="0" eaLnBrk="1" latinLnBrk="0" hangingPunct="1">
        <a:spcBef>
          <a:spcPts val="0"/>
        </a:spcBef>
        <a:spcAft>
          <a:spcPts val="600"/>
        </a:spcAft>
        <a:buClr>
          <a:schemeClr val="tx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 Placeholder 2"/>
          <p:cNvSpPr>
            <a:spLocks noGrp="1"/>
          </p:cNvSpPr>
          <p:nvPr>
            <p:ph type="body" idx="1"/>
          </p:nvPr>
        </p:nvSpPr>
        <p:spPr>
          <a:xfrm>
            <a:off x="390144" y="102076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20320" y="6548379"/>
            <a:ext cx="2844800" cy="365125"/>
          </a:xfrm>
          <a:prstGeom prst="rect">
            <a:avLst/>
          </a:prstGeom>
        </p:spPr>
        <p:txBody>
          <a:bodyPr vert="horz" lIns="91440" tIns="45720" rIns="91440" bIns="45720" rtlCol="0" anchor="ctr"/>
          <a:lstStyle>
            <a:lvl1pPr algn="l">
              <a:defRPr sz="900" b="1">
                <a:solidFill>
                  <a:schemeClr val="tx1"/>
                </a:solidFill>
                <a:latin typeface="Arial" panose="020B0604020202020204" pitchFamily="34" charset="0"/>
                <a:cs typeface="Arial" panose="020B0604020202020204" pitchFamily="34" charset="0"/>
              </a:defRPr>
            </a:lvl1pPr>
          </a:lstStyle>
          <a:p>
            <a:fld id="{1BD76D76-1DDD-4A53-8C1C-2E45B77C1C18}" type="slidenum">
              <a:rPr lang="en-US" smtClean="0">
                <a:solidFill>
                  <a:srgbClr val="1C1C1C"/>
                </a:solidFill>
              </a:rPr>
              <a:pPr/>
              <a:t>‹#›</a:t>
            </a:fld>
            <a:endParaRPr lang="en-US" dirty="0">
              <a:solidFill>
                <a:srgbClr val="1C1C1C"/>
              </a:solidFill>
            </a:endParaRPr>
          </a:p>
        </p:txBody>
      </p:sp>
      <p:sp>
        <p:nvSpPr>
          <p:cNvPr id="2" name="TextBox 1">
            <a:extLst>
              <a:ext uri="{FF2B5EF4-FFF2-40B4-BE49-F238E27FC236}">
                <a16:creationId xmlns:a16="http://schemas.microsoft.com/office/drawing/2014/main" id="{7CBD3B57-A7AC-F12F-6523-9B1A53DEE9F5}"/>
              </a:ext>
            </a:extLst>
          </p:cNvPr>
          <p:cNvSpPr txBox="1"/>
          <p:nvPr>
            <p:extLst>
              <p:ext uri="{1162E1C5-73C7-4A58-AE30-91384D911F3F}">
                <p184:classification xmlns:p184="http://schemas.microsoft.com/office/powerpoint/2018/4/main" val="ftr"/>
              </p:ext>
            </p:extLst>
          </p:nvPr>
        </p:nvSpPr>
        <p:spPr>
          <a:xfrm>
            <a:off x="5799138" y="6672580"/>
            <a:ext cx="615950" cy="121920"/>
          </a:xfrm>
          <a:prstGeom prst="rect">
            <a:avLst/>
          </a:prstGeom>
        </p:spPr>
        <p:txBody>
          <a:bodyPr horzOverflow="overflow" lIns="0" tIns="0" rIns="0" bIns="0">
            <a:spAutoFit/>
          </a:bodyPr>
          <a:lstStyle/>
          <a:p>
            <a:pPr algn="l"/>
            <a:r>
              <a:rPr lang="en-CA" sz="8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INTERNAL USE</a:t>
            </a:r>
          </a:p>
        </p:txBody>
      </p:sp>
    </p:spTree>
    <p:extLst>
      <p:ext uri="{BB962C8B-B14F-4D97-AF65-F5344CB8AC3E}">
        <p14:creationId xmlns:p14="http://schemas.microsoft.com/office/powerpoint/2010/main" val="2063476516"/>
      </p:ext>
    </p:extLst>
  </p:cSld>
  <p:clrMap bg1="lt1" tx1="dk1" bg2="lt2" tx2="dk2" accent1="accent1" accent2="accent2" accent3="accent3" accent4="accent4" accent5="accent5" accent6="accent6" hlink="hlink" folHlink="folHlink"/>
  <p:sldLayoutIdLst>
    <p:sldLayoutId id="2147483710" r:id="rId1"/>
  </p:sldLayoutIdLst>
  <p:txStyles>
    <p:titleStyle>
      <a:lvl1pPr algn="l" defTabSz="914400" rtl="0" eaLnBrk="1" latinLnBrk="0" hangingPunct="1">
        <a:spcBef>
          <a:spcPct val="0"/>
        </a:spcBef>
        <a:buNone/>
        <a:defRPr sz="2800" b="1" kern="1200">
          <a:solidFill>
            <a:schemeClr val="tx2"/>
          </a:solidFill>
          <a:latin typeface="Arial" panose="020B0604020202020204" pitchFamily="34" charset="0"/>
          <a:ea typeface="+mj-ea"/>
          <a:cs typeface="Arial" panose="020B0604020202020204" pitchFamily="34" charset="0"/>
        </a:defRPr>
      </a:lvl1pPr>
    </p:titleStyle>
    <p:bodyStyle>
      <a:lvl1pPr marL="274320" indent="-274320" algn="l" defTabSz="914400" rtl="0" eaLnBrk="1" latinLnBrk="0" hangingPunct="1">
        <a:spcBef>
          <a:spcPts val="0"/>
        </a:spcBef>
        <a:spcAft>
          <a:spcPts val="600"/>
        </a:spcAft>
        <a:buClr>
          <a:schemeClr val="tx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0744200" y="5410200"/>
            <a:ext cx="1447800" cy="1447800"/>
          </a:xfrm>
          <a:prstGeom prst="rect">
            <a:avLst/>
          </a:prstGeom>
          <a:noFill/>
          <a:ln>
            <a:noFill/>
          </a:ln>
        </p:spPr>
      </p:pic>
      <p:sp>
        <p:nvSpPr>
          <p:cNvPr id="2" name="Title Placeholder 1"/>
          <p:cNvSpPr>
            <a:spLocks noGrp="1"/>
          </p:cNvSpPr>
          <p:nvPr>
            <p:ph type="title"/>
          </p:nvPr>
        </p:nvSpPr>
        <p:spPr>
          <a:xfrm>
            <a:off x="390144" y="0"/>
            <a:ext cx="109728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90144" y="1020763"/>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20320" y="6548375"/>
            <a:ext cx="2844800" cy="365125"/>
          </a:xfrm>
          <a:prstGeom prst="rect">
            <a:avLst/>
          </a:prstGeom>
        </p:spPr>
        <p:txBody>
          <a:bodyPr vert="horz" lIns="91440" tIns="45720" rIns="91440" bIns="45720" rtlCol="0" anchor="ctr"/>
          <a:lstStyle>
            <a:lvl1pPr algn="l">
              <a:defRPr sz="900" b="1">
                <a:solidFill>
                  <a:schemeClr val="tx1"/>
                </a:solidFill>
                <a:latin typeface="Arial" panose="020B0604020202020204" pitchFamily="34" charset="0"/>
                <a:cs typeface="Arial" panose="020B0604020202020204" pitchFamily="34" charset="0"/>
              </a:defRPr>
            </a:lvl1pPr>
          </a:lstStyle>
          <a:p>
            <a:fld id="{C6BDDE3B-6E17-4A89-9F93-DBB317C0A6AD}" type="slidenum">
              <a:rPr lang="en-US" smtClean="0"/>
              <a:pPr/>
              <a:t>‹#›</a:t>
            </a:fld>
            <a:endParaRPr lang="en-US"/>
          </a:p>
        </p:txBody>
      </p:sp>
      <p:cxnSp>
        <p:nvCxnSpPr>
          <p:cNvPr id="8" name="Straight Connector 7"/>
          <p:cNvCxnSpPr/>
          <p:nvPr userDrawn="1"/>
        </p:nvCxnSpPr>
        <p:spPr>
          <a:xfrm>
            <a:off x="390144" y="753535"/>
            <a:ext cx="11420856" cy="0"/>
          </a:xfrm>
          <a:prstGeom prst="line">
            <a:avLst/>
          </a:prstGeom>
          <a:ln w="19050">
            <a:solidFill>
              <a:srgbClr val="F45F2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D0C0D9-31C8-4DC7-17CE-F9CAB5E63F53}"/>
              </a:ext>
            </a:extLst>
          </p:cNvPr>
          <p:cNvSpPr txBox="1"/>
          <p:nvPr>
            <p:extLst>
              <p:ext uri="{1162E1C5-73C7-4A58-AE30-91384D911F3F}">
                <p184:classification xmlns:p184="http://schemas.microsoft.com/office/powerpoint/2018/4/main" val="ftr"/>
              </p:ext>
            </p:extLst>
          </p:nvPr>
        </p:nvSpPr>
        <p:spPr>
          <a:xfrm>
            <a:off x="5799138" y="6672580"/>
            <a:ext cx="615950" cy="121920"/>
          </a:xfrm>
          <a:prstGeom prst="rect">
            <a:avLst/>
          </a:prstGeom>
        </p:spPr>
        <p:txBody>
          <a:bodyPr horzOverflow="overflow" lIns="0" tIns="0" rIns="0" bIns="0">
            <a:spAutoFit/>
          </a:bodyPr>
          <a:lstStyle/>
          <a:p>
            <a:pPr algn="l"/>
            <a:r>
              <a:rPr lang="en-CA" sz="8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INTERNAL USE</a:t>
            </a:r>
          </a:p>
        </p:txBody>
      </p:sp>
    </p:spTree>
    <p:extLst>
      <p:ext uri="{BB962C8B-B14F-4D97-AF65-F5344CB8AC3E}">
        <p14:creationId xmlns:p14="http://schemas.microsoft.com/office/powerpoint/2010/main" val="89932012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Lst>
  <p:hf hdr="0" ftr="0" dt="0"/>
  <p:txStyles>
    <p:titleStyle>
      <a:lvl1pPr algn="l" defTabSz="914400" rtl="0" eaLnBrk="1" latinLnBrk="0" hangingPunct="1">
        <a:spcBef>
          <a:spcPct val="0"/>
        </a:spcBef>
        <a:buNone/>
        <a:defRPr sz="2800" b="1" kern="1200">
          <a:solidFill>
            <a:srgbClr val="F45F20"/>
          </a:solidFill>
          <a:latin typeface="Arial" panose="020B0604020202020204" pitchFamily="34" charset="0"/>
          <a:ea typeface="+mj-ea"/>
          <a:cs typeface="Arial" panose="020B0604020202020204" pitchFamily="34" charset="0"/>
        </a:defRPr>
      </a:lvl1pPr>
    </p:titleStyle>
    <p:bodyStyle>
      <a:lvl1pPr marL="274320" indent="-274320" algn="l" defTabSz="914400" rtl="0" eaLnBrk="1" latinLnBrk="0" hangingPunct="1">
        <a:spcBef>
          <a:spcPts val="0"/>
        </a:spcBef>
        <a:spcAft>
          <a:spcPts val="600"/>
        </a:spcAft>
        <a:buClr>
          <a:schemeClr val="tx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38" imgH="338" progId="TCLayout.ActiveDocument.1">
                  <p:embed/>
                </p:oleObj>
              </mc:Choice>
              <mc:Fallback>
                <p:oleObj name="think-cell Slide" r:id="rId12" imgW="338" imgH="338" progId="TCLayout.ActiveDocument.1">
                  <p:embed/>
                  <p:pic>
                    <p:nvPicPr>
                      <p:cNvPr id="4" name="Object 3"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14" cstate="print">
            <a:extLst>
              <a:ext uri="{28A0092B-C50C-407E-A947-70E740481C1C}">
                <a14:useLocalDpi xmlns:a14="http://schemas.microsoft.com/office/drawing/2010/main" val="0"/>
              </a:ext>
            </a:extLst>
          </a:blip>
          <a:srcRect l="84167" t="78889"/>
          <a:stretch/>
        </p:blipFill>
        <p:spPr>
          <a:xfrm>
            <a:off x="10744200" y="5410200"/>
            <a:ext cx="1447800" cy="1447800"/>
          </a:xfrm>
          <a:prstGeom prst="rect">
            <a:avLst/>
          </a:prstGeom>
          <a:noFill/>
          <a:ln>
            <a:noFill/>
          </a:ln>
        </p:spPr>
      </p:pic>
      <p:sp>
        <p:nvSpPr>
          <p:cNvPr id="2" name="Title Placeholder 1"/>
          <p:cNvSpPr>
            <a:spLocks noGrp="1"/>
          </p:cNvSpPr>
          <p:nvPr>
            <p:ph type="title"/>
          </p:nvPr>
        </p:nvSpPr>
        <p:spPr>
          <a:xfrm>
            <a:off x="390144" y="0"/>
            <a:ext cx="10972800" cy="762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90144" y="102076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0320" y="6548375"/>
            <a:ext cx="2844800" cy="365125"/>
          </a:xfrm>
          <a:prstGeom prst="rect">
            <a:avLst/>
          </a:prstGeom>
        </p:spPr>
        <p:txBody>
          <a:bodyPr vert="horz" lIns="91440" tIns="45720" rIns="91440" bIns="45720" rtlCol="0" anchor="ctr"/>
          <a:lstStyle>
            <a:lvl1pPr algn="l">
              <a:defRPr sz="900" b="1">
                <a:solidFill>
                  <a:schemeClr val="tx1"/>
                </a:solidFill>
                <a:latin typeface="Arial" panose="020B0604020202020204" pitchFamily="34" charset="0"/>
                <a:cs typeface="Arial" panose="020B0604020202020204" pitchFamily="34" charset="0"/>
              </a:defRPr>
            </a:lvl1pPr>
          </a:lstStyle>
          <a:p>
            <a:fld id="{C6BDDE3B-6E17-4A89-9F93-DBB317C0A6AD}" type="slidenum">
              <a:rPr lang="en-US" smtClean="0"/>
              <a:pPr/>
              <a:t>‹#›</a:t>
            </a:fld>
            <a:endParaRPr lang="en-US" dirty="0"/>
          </a:p>
        </p:txBody>
      </p:sp>
      <p:cxnSp>
        <p:nvCxnSpPr>
          <p:cNvPr id="8" name="Straight Connector 7"/>
          <p:cNvCxnSpPr/>
          <p:nvPr userDrawn="1"/>
        </p:nvCxnSpPr>
        <p:spPr>
          <a:xfrm>
            <a:off x="390144" y="753535"/>
            <a:ext cx="1142085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E0EE19A-D0CD-AFF9-D2C6-C050BB38CB7F}"/>
              </a:ext>
            </a:extLst>
          </p:cNvPr>
          <p:cNvSpPr txBox="1"/>
          <p:nvPr>
            <p:extLst>
              <p:ext uri="{1162E1C5-73C7-4A58-AE30-91384D911F3F}">
                <p184:classification xmlns:p184="http://schemas.microsoft.com/office/powerpoint/2018/4/main" val="ftr"/>
              </p:ext>
            </p:extLst>
          </p:nvPr>
        </p:nvSpPr>
        <p:spPr>
          <a:xfrm>
            <a:off x="5799138" y="6672580"/>
            <a:ext cx="615950" cy="121920"/>
          </a:xfrm>
          <a:prstGeom prst="rect">
            <a:avLst/>
          </a:prstGeom>
        </p:spPr>
        <p:txBody>
          <a:bodyPr horzOverflow="overflow" lIns="0" tIns="0" rIns="0" bIns="0">
            <a:spAutoFit/>
          </a:bodyPr>
          <a:lstStyle/>
          <a:p>
            <a:pPr algn="l"/>
            <a:r>
              <a:rPr lang="en-CA" sz="8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INTERNAL USE</a:t>
            </a:r>
          </a:p>
        </p:txBody>
      </p:sp>
    </p:spTree>
    <p:extLst>
      <p:ext uri="{BB962C8B-B14F-4D97-AF65-F5344CB8AC3E}">
        <p14:creationId xmlns:p14="http://schemas.microsoft.com/office/powerpoint/2010/main" val="303207653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Lst>
  <p:hf hdr="0" ftr="0" dt="0"/>
  <p:txStyles>
    <p:titleStyle>
      <a:lvl1pPr algn="l" defTabSz="914400" rtl="0" eaLnBrk="1" latinLnBrk="0" hangingPunct="1">
        <a:spcBef>
          <a:spcPct val="0"/>
        </a:spcBef>
        <a:buNone/>
        <a:defRPr sz="2800" b="1" kern="1200">
          <a:solidFill>
            <a:schemeClr val="tx2"/>
          </a:solidFill>
          <a:latin typeface="Arial" panose="020B0604020202020204" pitchFamily="34" charset="0"/>
          <a:ea typeface="+mj-ea"/>
          <a:cs typeface="Arial" panose="020B0604020202020204" pitchFamily="34" charset="0"/>
        </a:defRPr>
      </a:lvl1pPr>
    </p:titleStyle>
    <p:bodyStyle>
      <a:lvl1pPr marL="274320" indent="-274320" algn="l" defTabSz="914400" rtl="0" eaLnBrk="1" latinLnBrk="0" hangingPunct="1">
        <a:spcBef>
          <a:spcPts val="0"/>
        </a:spcBef>
        <a:spcAft>
          <a:spcPts val="600"/>
        </a:spcAft>
        <a:buClr>
          <a:schemeClr val="tx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mailto:Lisa_x_brown@homedepot.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51.xml"/><Relationship Id="rId5" Type="http://schemas.openxmlformats.org/officeDocument/2006/relationships/image" Target="../media/image43.emf"/><Relationship Id="rId4" Type="http://schemas.openxmlformats.org/officeDocument/2006/relationships/package" Target="../embeddings/Microsoft_Excel_Worksheet.xlsx"/></Relationships>
</file>

<file path=ppt/slides/_rels/slide12.xml.rels><?xml version="1.0" encoding="UTF-8" standalone="yes"?>
<Relationships xmlns="http://schemas.openxmlformats.org/package/2006/relationships"><Relationship Id="rId8" Type="http://schemas.openxmlformats.org/officeDocument/2006/relationships/hyperlink" Target="https://www.homedepot.ca/en/home/credit-services.html#CommercialAccount"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4.png"/><Relationship Id="rId1" Type="http://schemas.openxmlformats.org/officeDocument/2006/relationships/slideLayout" Target="../slideLayouts/slideLayout5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hyperlink" Target="https://www.homedepot.ca/en/home/pro/proxtra.html" TargetMode="External"/><Relationship Id="rId7" Type="http://schemas.openxmlformats.org/officeDocument/2006/relationships/hyperlink" Target="mailto:Lisa_x_brown@homedepot.com" TargetMode="External"/><Relationship Id="rId2" Type="http://schemas.openxmlformats.org/officeDocument/2006/relationships/hyperlink" Target="https://vimeo.com/460226417" TargetMode="External"/><Relationship Id="rId1" Type="http://schemas.openxmlformats.org/officeDocument/2006/relationships/slideLayout" Target="../slideLayouts/slideLayout51.xml"/><Relationship Id="rId6" Type="http://schemas.openxmlformats.org/officeDocument/2006/relationships/hyperlink" Target="https://www.homedepot.ca/en/home/pro/proxtra/frequently-asked-questions.html" TargetMode="External"/><Relationship Id="rId5" Type="http://schemas.openxmlformats.org/officeDocument/2006/relationships/hyperlink" Target="https://www.homedepot.ca/en/home/pro/proxtra/terms-and-conditions.html" TargetMode="External"/><Relationship Id="rId4" Type="http://schemas.openxmlformats.org/officeDocument/2006/relationships/hyperlink" Target="https://www.homedepot.ca/en/home/pro/proxtra/pro-paint-rewards.htm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openxmlformats.org/officeDocument/2006/relationships/image" Target="../media/image13.jpg"/><Relationship Id="rId5" Type="http://schemas.openxmlformats.org/officeDocument/2006/relationships/image" Target="../media/image16.jpg"/><Relationship Id="rId4" Type="http://schemas.openxmlformats.org/officeDocument/2006/relationships/image" Target="../media/image15.jpg"/></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8.jpeg"/><Relationship Id="rId1" Type="http://schemas.openxmlformats.org/officeDocument/2006/relationships/slideLayout" Target="../slideLayouts/slideLayout49.xml"/><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image" Target="../media/image20.jpg"/><Relationship Id="rId1" Type="http://schemas.openxmlformats.org/officeDocument/2006/relationships/slideLayout" Target="../slideLayouts/slideLayout51.xml"/><Relationship Id="rId6" Type="http://schemas.openxmlformats.org/officeDocument/2006/relationships/image" Target="../media/image23.png"/><Relationship Id="rId5" Type="http://schemas.openxmlformats.org/officeDocument/2006/relationships/image" Target="../media/image13.jp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10.xml"/><Relationship Id="rId6" Type="http://schemas.openxmlformats.org/officeDocument/2006/relationships/image" Target="../media/image28.png"/><Relationship Id="rId5" Type="http://schemas.openxmlformats.org/officeDocument/2006/relationships/image" Target="cid:186A4E3D-395C-4CD1-9492-BAC42A63A391" TargetMode="Externa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5.png"/><Relationship Id="rId3" Type="http://schemas.openxmlformats.org/officeDocument/2006/relationships/image" Target="../media/image26.png"/><Relationship Id="rId7" Type="http://schemas.openxmlformats.org/officeDocument/2006/relationships/image" Target="../media/image31.jpeg"/><Relationship Id="rId12" Type="http://schemas.openxmlformats.org/officeDocument/2006/relationships/image" Target="cid:186A4E3D-395C-4CD1-9492-BAC42A63A391" TargetMode="External"/><Relationship Id="rId2" Type="http://schemas.openxmlformats.org/officeDocument/2006/relationships/notesSlide" Target="../notesSlides/notesSlide3.xml"/><Relationship Id="rId1" Type="http://schemas.openxmlformats.org/officeDocument/2006/relationships/slideLayout" Target="../slideLayouts/slideLayout46.xml"/><Relationship Id="rId6" Type="http://schemas.openxmlformats.org/officeDocument/2006/relationships/image" Target="../media/image30.png"/><Relationship Id="rId11" Type="http://schemas.openxmlformats.org/officeDocument/2006/relationships/image" Target="../media/image27.png"/><Relationship Id="rId5" Type="http://schemas.openxmlformats.org/officeDocument/2006/relationships/image" Target="../media/image29.png"/><Relationship Id="rId10" Type="http://schemas.openxmlformats.org/officeDocument/2006/relationships/image" Target="../media/image34.png"/><Relationship Id="rId4" Type="http://schemas.microsoft.com/office/2007/relationships/hdphoto" Target="../media/hdphoto1.wdp"/><Relationship Id="rId9"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8.xml"/><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png"/><Relationship Id="rId1" Type="http://schemas.openxmlformats.org/officeDocument/2006/relationships/slideLayout" Target="../slideLayouts/slideLayout58.xml"/><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FA0A4-6643-41E1-A457-5687673DEB15}"/>
              </a:ext>
            </a:extLst>
          </p:cNvPr>
          <p:cNvSpPr>
            <a:spLocks noGrp="1"/>
          </p:cNvSpPr>
          <p:nvPr>
            <p:ph type="ctrTitle"/>
          </p:nvPr>
        </p:nvSpPr>
        <p:spPr>
          <a:xfrm>
            <a:off x="1375053" y="1856082"/>
            <a:ext cx="10281328" cy="2289175"/>
          </a:xfrm>
        </p:spPr>
        <p:txBody>
          <a:bodyPr/>
          <a:lstStyle/>
          <a:p>
            <a:r>
              <a:rPr lang="en-US" b="0" dirty="0">
                <a:latin typeface="Franklin Gothic Demi Cond" panose="020B0706030402020204" pitchFamily="34" charset="0"/>
              </a:rPr>
              <a:t>Home Depot Canada -Product and Service Offerings</a:t>
            </a:r>
            <a:br>
              <a:rPr lang="en-US" b="0" dirty="0">
                <a:latin typeface="Franklin Gothic Demi Cond" panose="020B0706030402020204" pitchFamily="34" charset="0"/>
              </a:rPr>
            </a:br>
            <a:endParaRPr lang="en-CA" b="0" dirty="0">
              <a:latin typeface="Franklin Gothic Demi Cond" panose="020B0706030402020204" pitchFamily="34" charset="0"/>
            </a:endParaRPr>
          </a:p>
        </p:txBody>
      </p:sp>
      <p:pic>
        <p:nvPicPr>
          <p:cNvPr id="5" name="Picture 4" descr="Logo&#10;&#10;Description automatically generated">
            <a:extLst>
              <a:ext uri="{FF2B5EF4-FFF2-40B4-BE49-F238E27FC236}">
                <a16:creationId xmlns:a16="http://schemas.microsoft.com/office/drawing/2014/main" id="{C8A550DE-76F1-4E48-A1CF-D692AC72241F}"/>
              </a:ext>
            </a:extLst>
          </p:cNvPr>
          <p:cNvPicPr>
            <a:picLocks noChangeAspect="1"/>
          </p:cNvPicPr>
          <p:nvPr/>
        </p:nvPicPr>
        <p:blipFill>
          <a:blip r:embed="rId3">
            <a:extLst>
              <a:ext uri="{28A0092B-C50C-407E-A947-70E740481C1C}">
                <a14:useLocalDpi xmlns:a14="http://schemas.microsoft.com/office/drawing/2010/main" val="0"/>
              </a:ext>
            </a:extLst>
          </a:blip>
          <a:srcRect b="28283"/>
          <a:stretch/>
        </p:blipFill>
        <p:spPr>
          <a:xfrm>
            <a:off x="219630" y="197114"/>
            <a:ext cx="3448050" cy="1076515"/>
          </a:xfrm>
          <a:prstGeom prst="rect">
            <a:avLst/>
          </a:prstGeom>
        </p:spPr>
      </p:pic>
      <p:sp>
        <p:nvSpPr>
          <p:cNvPr id="3" name="TextBox 2">
            <a:extLst>
              <a:ext uri="{FF2B5EF4-FFF2-40B4-BE49-F238E27FC236}">
                <a16:creationId xmlns:a16="http://schemas.microsoft.com/office/drawing/2014/main" id="{D0054BC7-E9F5-43D7-825A-BD26D1E0BD3C}"/>
              </a:ext>
            </a:extLst>
          </p:cNvPr>
          <p:cNvSpPr txBox="1"/>
          <p:nvPr/>
        </p:nvSpPr>
        <p:spPr>
          <a:xfrm>
            <a:off x="1462604" y="4633396"/>
            <a:ext cx="3560590" cy="147732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C1C1C"/>
                </a:solidFill>
                <a:effectLst/>
                <a:uLnTx/>
                <a:uFillTx/>
                <a:latin typeface="Arial"/>
                <a:ea typeface="+mn-ea"/>
                <a:cs typeface="+mn-cs"/>
              </a:rPr>
              <a:t>Lisa Brow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C1C1C"/>
                </a:solidFill>
                <a:effectLst/>
                <a:uLnTx/>
                <a:uFillTx/>
                <a:latin typeface="Arial"/>
                <a:ea typeface="+mn-ea"/>
                <a:cs typeface="+mn-cs"/>
              </a:rPr>
              <a:t>National Account Manag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C1C1C"/>
                </a:solidFill>
                <a:effectLst/>
                <a:uLnTx/>
                <a:uFillTx/>
                <a:latin typeface="Arial"/>
                <a:ea typeface="+mn-ea"/>
                <a:cs typeface="+mn-cs"/>
              </a:rPr>
              <a:t>The Home Depot Can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C1C1C"/>
                </a:solidFill>
                <a:effectLst/>
                <a:uLnTx/>
                <a:uFillTx/>
                <a:latin typeface="Arial"/>
                <a:ea typeface="+mn-ea"/>
                <a:cs typeface="+mn-cs"/>
                <a:hlinkClick r:id="rId4"/>
              </a:rPr>
              <a:t>Lisa_x_brown@homedepot.com</a:t>
            </a:r>
            <a:r>
              <a:rPr kumimoji="0" lang="en-US" sz="1800" b="0" i="0" u="none" strike="noStrike" kern="1200" cap="none" spc="0" normalizeH="0" baseline="0" noProof="0" dirty="0">
                <a:ln>
                  <a:noFill/>
                </a:ln>
                <a:solidFill>
                  <a:srgbClr val="1C1C1C"/>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C1C1C"/>
                </a:solidFill>
                <a:effectLst/>
                <a:uLnTx/>
                <a:uFillTx/>
                <a:latin typeface="Arial"/>
                <a:ea typeface="+mn-ea"/>
                <a:cs typeface="+mn-cs"/>
              </a:rPr>
              <a:t>416 677 2227  </a:t>
            </a: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spTree>
    <p:extLst>
      <p:ext uri="{BB962C8B-B14F-4D97-AF65-F5344CB8AC3E}">
        <p14:creationId xmlns:p14="http://schemas.microsoft.com/office/powerpoint/2010/main" val="21021522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387BD8B-ACAE-4E58-8E21-74DC0FF24217}"/>
              </a:ext>
            </a:extLst>
          </p:cNvPr>
          <p:cNvSpPr txBox="1"/>
          <p:nvPr/>
        </p:nvSpPr>
        <p:spPr>
          <a:xfrm>
            <a:off x="372010" y="129121"/>
            <a:ext cx="114479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58220"/>
                </a:solidFill>
                <a:effectLst/>
                <a:uLnTx/>
                <a:uFillTx/>
                <a:latin typeface="Arial" panose="020B0604020202020204" pitchFamily="34" charset="0"/>
                <a:ea typeface="+mn-ea"/>
                <a:cs typeface="Arial" panose="020B0604020202020204" pitchFamily="34" charset="0"/>
              </a:rPr>
              <a:t>Pro Xtra </a:t>
            </a:r>
            <a:r>
              <a:rPr kumimoji="0" lang="en-US" sz="2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US" sz="2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R</a:t>
            </a:r>
            <a:r>
              <a:rPr kumimoji="0" lang="en-US" sz="28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eward</a:t>
            </a:r>
            <a:r>
              <a:rPr kumimoji="0" lang="en-US" sz="2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Structure </a:t>
            </a: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pic>
        <p:nvPicPr>
          <p:cNvPr id="5" name="Picture 4">
            <a:extLst>
              <a:ext uri="{FF2B5EF4-FFF2-40B4-BE49-F238E27FC236}">
                <a16:creationId xmlns:a16="http://schemas.microsoft.com/office/drawing/2014/main" id="{A7FE4E9A-ADF9-43A2-A3C3-C70FAB9706E7}"/>
              </a:ext>
            </a:extLst>
          </p:cNvPr>
          <p:cNvPicPr>
            <a:picLocks noChangeAspect="1"/>
          </p:cNvPicPr>
          <p:nvPr/>
        </p:nvPicPr>
        <p:blipFill>
          <a:blip r:embed="rId2"/>
          <a:stretch>
            <a:fillRect/>
          </a:stretch>
        </p:blipFill>
        <p:spPr>
          <a:xfrm>
            <a:off x="6992514" y="2175413"/>
            <a:ext cx="4618873" cy="2291730"/>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D9879F29-5FC1-4E7F-9DA6-FF3AD8BB65F8}"/>
              </a:ext>
            </a:extLst>
          </p:cNvPr>
          <p:cNvPicPr>
            <a:picLocks noChangeAspect="1"/>
          </p:cNvPicPr>
          <p:nvPr/>
        </p:nvPicPr>
        <p:blipFill>
          <a:blip r:embed="rId3"/>
          <a:stretch>
            <a:fillRect/>
          </a:stretch>
        </p:blipFill>
        <p:spPr>
          <a:xfrm>
            <a:off x="453291" y="1071889"/>
            <a:ext cx="6298894" cy="2075208"/>
          </a:xfrm>
          <a:prstGeom prst="rect">
            <a:avLst/>
          </a:prstGeom>
        </p:spPr>
      </p:pic>
      <p:pic>
        <p:nvPicPr>
          <p:cNvPr id="10" name="Picture 9">
            <a:extLst>
              <a:ext uri="{FF2B5EF4-FFF2-40B4-BE49-F238E27FC236}">
                <a16:creationId xmlns:a16="http://schemas.microsoft.com/office/drawing/2014/main" id="{8CFF5244-0C83-49BF-AB06-81BFA1C9A28F}"/>
              </a:ext>
            </a:extLst>
          </p:cNvPr>
          <p:cNvPicPr>
            <a:picLocks noChangeAspect="1"/>
          </p:cNvPicPr>
          <p:nvPr/>
        </p:nvPicPr>
        <p:blipFill>
          <a:blip r:embed="rId4"/>
          <a:stretch>
            <a:fillRect/>
          </a:stretch>
        </p:blipFill>
        <p:spPr>
          <a:xfrm>
            <a:off x="453291" y="3588471"/>
            <a:ext cx="6298894" cy="2218110"/>
          </a:xfrm>
          <a:prstGeom prst="rect">
            <a:avLst/>
          </a:prstGeom>
        </p:spPr>
      </p:pic>
      <p:sp>
        <p:nvSpPr>
          <p:cNvPr id="27" name="TextBox 26">
            <a:extLst>
              <a:ext uri="{FF2B5EF4-FFF2-40B4-BE49-F238E27FC236}">
                <a16:creationId xmlns:a16="http://schemas.microsoft.com/office/drawing/2014/main" id="{65D7098F-F800-4B60-BE61-2560A00A1001}"/>
              </a:ext>
            </a:extLst>
          </p:cNvPr>
          <p:cNvSpPr txBox="1"/>
          <p:nvPr/>
        </p:nvSpPr>
        <p:spPr>
          <a:xfrm>
            <a:off x="2363980" y="5990215"/>
            <a:ext cx="746404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C1C1C">
                    <a:lumMod val="75000"/>
                    <a:lumOff val="25000"/>
                  </a:srgbClr>
                </a:solidFill>
                <a:effectLst/>
                <a:uLnTx/>
                <a:uFillTx/>
                <a:latin typeface="Arial"/>
                <a:ea typeface="+mn-ea"/>
                <a:cs typeface="+mn-cs"/>
              </a:rPr>
              <a:t>**Minimum spend of $2K on qualifying paint purchases required to unlock the 10% Pro Paint Benefit – otherwise those transactions will be bonused at your Base Tier rate**</a:t>
            </a:r>
            <a:endParaRPr kumimoji="0" lang="en-CA" sz="1400" b="1" i="0" u="none" strike="noStrike" kern="1200" cap="none" spc="0" normalizeH="0" baseline="0" noProof="0" dirty="0">
              <a:ln>
                <a:noFill/>
              </a:ln>
              <a:solidFill>
                <a:srgbClr val="1C1C1C">
                  <a:lumMod val="75000"/>
                  <a:lumOff val="25000"/>
                </a:srgbClr>
              </a:solidFill>
              <a:effectLst/>
              <a:uLnTx/>
              <a:uFillTx/>
              <a:latin typeface="Arial"/>
              <a:ea typeface="+mn-ea"/>
              <a:cs typeface="+mn-cs"/>
            </a:endParaRPr>
          </a:p>
        </p:txBody>
      </p:sp>
    </p:spTree>
    <p:extLst>
      <p:ext uri="{BB962C8B-B14F-4D97-AF65-F5344CB8AC3E}">
        <p14:creationId xmlns:p14="http://schemas.microsoft.com/office/powerpoint/2010/main" val="421970442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9CF8F-1A6A-42A5-923A-A28C9BE77274}"/>
              </a:ext>
            </a:extLst>
          </p:cNvPr>
          <p:cNvSpPr>
            <a:spLocks noGrp="1"/>
          </p:cNvSpPr>
          <p:nvPr>
            <p:ph type="title"/>
          </p:nvPr>
        </p:nvSpPr>
        <p:spPr/>
        <p:txBody>
          <a:bodyPr/>
          <a:lstStyle/>
          <a:p>
            <a:r>
              <a:rPr lang="en-US" dirty="0"/>
              <a:t> </a:t>
            </a:r>
          </a:p>
        </p:txBody>
      </p:sp>
      <p:sp>
        <p:nvSpPr>
          <p:cNvPr id="4" name="Slide Number Placeholder 3">
            <a:extLst>
              <a:ext uri="{FF2B5EF4-FFF2-40B4-BE49-F238E27FC236}">
                <a16:creationId xmlns:a16="http://schemas.microsoft.com/office/drawing/2014/main" id="{093B6073-B233-4244-87A6-B910A388892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6BDDE3B-6E17-4A89-9F93-DBB317C0A6AD}" type="slidenum">
              <a:rPr kumimoji="0" lang="en-US" sz="900" b="1" i="0" u="none" strike="noStrike" kern="1200" cap="none" spc="0" normalizeH="0" baseline="0" noProof="0" smtClean="0">
                <a:ln>
                  <a:noFill/>
                </a:ln>
                <a:solidFill>
                  <a:srgbClr val="1C1C1C"/>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900" b="1" i="0" u="none" strike="noStrike" kern="1200" cap="none" spc="0" normalizeH="0" baseline="0" noProof="0">
              <a:ln>
                <a:noFill/>
              </a:ln>
              <a:solidFill>
                <a:srgbClr val="1C1C1C"/>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D59C8BAB-5EBB-456C-8FCD-064188021C00}"/>
              </a:ext>
            </a:extLst>
          </p:cNvPr>
          <p:cNvSpPr txBox="1"/>
          <p:nvPr/>
        </p:nvSpPr>
        <p:spPr>
          <a:xfrm>
            <a:off x="6235139" y="2053943"/>
            <a:ext cx="38794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C1C1C">
                    <a:lumMod val="75000"/>
                    <a:lumOff val="25000"/>
                  </a:srgbClr>
                </a:solidFill>
                <a:effectLst/>
                <a:uLnTx/>
                <a:uFillTx/>
                <a:latin typeface="Arial"/>
                <a:ea typeface="+mn-ea"/>
                <a:cs typeface="+mn-cs"/>
              </a:rPr>
              <a:t>Quarterly Reward Payout Periods</a:t>
            </a:r>
            <a:endParaRPr kumimoji="0" lang="en-CA" sz="1400" b="1" i="0" u="none" strike="noStrike" kern="1200" cap="none" spc="0" normalizeH="0" baseline="0" noProof="0" dirty="0">
              <a:ln>
                <a:noFill/>
              </a:ln>
              <a:solidFill>
                <a:srgbClr val="1C1C1C">
                  <a:lumMod val="75000"/>
                  <a:lumOff val="25000"/>
                </a:srgbClr>
              </a:solidFill>
              <a:effectLst/>
              <a:uLnTx/>
              <a:uFillTx/>
              <a:latin typeface="Arial"/>
              <a:ea typeface="+mn-ea"/>
              <a:cs typeface="+mn-cs"/>
            </a:endParaRPr>
          </a:p>
        </p:txBody>
      </p:sp>
      <p:sp>
        <p:nvSpPr>
          <p:cNvPr id="10" name="Rectangle 9">
            <a:extLst>
              <a:ext uri="{FF2B5EF4-FFF2-40B4-BE49-F238E27FC236}">
                <a16:creationId xmlns:a16="http://schemas.microsoft.com/office/drawing/2014/main" id="{884B12E4-47B4-4CCE-BA83-0ADE6F991574}"/>
              </a:ext>
            </a:extLst>
          </p:cNvPr>
          <p:cNvSpPr/>
          <p:nvPr/>
        </p:nvSpPr>
        <p:spPr>
          <a:xfrm>
            <a:off x="390145" y="987192"/>
            <a:ext cx="1149705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C1C1C">
                    <a:lumMod val="75000"/>
                    <a:lumOff val="25000"/>
                  </a:srgbClr>
                </a:solidFill>
                <a:effectLst/>
                <a:uLnTx/>
                <a:uFillTx/>
                <a:latin typeface="Arial"/>
                <a:ea typeface="+mn-ea"/>
                <a:cs typeface="+mn-cs"/>
              </a:rPr>
              <a:t>Rewards are </a:t>
            </a:r>
            <a:r>
              <a:rPr kumimoji="0" lang="en-US" sz="1600" b="1" i="0" u="none" strike="noStrike" kern="1200" cap="none" spc="0" normalizeH="0" baseline="0" noProof="0" dirty="0">
                <a:ln>
                  <a:noFill/>
                </a:ln>
                <a:solidFill>
                  <a:srgbClr val="1C1C1C">
                    <a:lumMod val="75000"/>
                    <a:lumOff val="25000"/>
                  </a:srgbClr>
                </a:solidFill>
                <a:effectLst/>
                <a:uLnTx/>
                <a:uFillTx/>
                <a:latin typeface="Arial"/>
                <a:ea typeface="+mn-ea"/>
                <a:cs typeface="+mn-cs"/>
              </a:rPr>
              <a:t>paid out to customers every 3 months </a:t>
            </a:r>
            <a:r>
              <a:rPr kumimoji="0" lang="en-US" sz="1600" b="0" i="0" u="none" strike="noStrike" kern="1200" cap="none" spc="0" normalizeH="0" baseline="0" noProof="0" dirty="0">
                <a:ln>
                  <a:noFill/>
                </a:ln>
                <a:solidFill>
                  <a:srgbClr val="1C1C1C">
                    <a:lumMod val="75000"/>
                    <a:lumOff val="25000"/>
                  </a:srgbClr>
                </a:solidFill>
                <a:effectLst/>
                <a:uLnTx/>
                <a:uFillTx/>
                <a:latin typeface="Arial"/>
                <a:ea typeface="+mn-ea"/>
                <a:cs typeface="+mn-cs"/>
              </a:rPr>
              <a:t>(in May, August, November and February). The amount on the reward  is based on how much a  member has spent in the previous 3 months and what tier level they are earning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C1C1C">
                    <a:lumMod val="75000"/>
                    <a:lumOff val="25000"/>
                  </a:srgbClr>
                </a:solidFill>
                <a:effectLst/>
                <a:uLnTx/>
                <a:uFillTx/>
                <a:latin typeface="Arial"/>
                <a:ea typeface="+mn-ea"/>
                <a:cs typeface="+mn-cs"/>
              </a:rPr>
              <a:t>The more you spend, the more you’ll earn towards your Quarterly Rebate. </a:t>
            </a:r>
            <a:endParaRPr kumimoji="0" lang="en-CA" sz="1600" b="0" i="0" u="none" strike="noStrike" kern="1200" cap="none" spc="0" normalizeH="0" baseline="0" noProof="0" dirty="0">
              <a:ln>
                <a:noFill/>
              </a:ln>
              <a:solidFill>
                <a:srgbClr val="1C1C1C">
                  <a:lumMod val="75000"/>
                  <a:lumOff val="25000"/>
                </a:srgbClr>
              </a:solidFill>
              <a:effectLst/>
              <a:uLnTx/>
              <a:uFillTx/>
              <a:latin typeface="Arial"/>
              <a:ea typeface="+mn-ea"/>
              <a:cs typeface="+mn-cs"/>
            </a:endParaRPr>
          </a:p>
        </p:txBody>
      </p:sp>
      <p:sp>
        <p:nvSpPr>
          <p:cNvPr id="11" name="Content Placeholder 2">
            <a:extLst>
              <a:ext uri="{FF2B5EF4-FFF2-40B4-BE49-F238E27FC236}">
                <a16:creationId xmlns:a16="http://schemas.microsoft.com/office/drawing/2014/main" id="{345E0CB0-53B2-4955-82C8-AC44902A0A90}"/>
              </a:ext>
            </a:extLst>
          </p:cNvPr>
          <p:cNvSpPr txBox="1">
            <a:spLocks/>
          </p:cNvSpPr>
          <p:nvPr/>
        </p:nvSpPr>
        <p:spPr>
          <a:xfrm>
            <a:off x="390144" y="4736254"/>
            <a:ext cx="10972800" cy="1812121"/>
          </a:xfrm>
          <a:prstGeom prst="rect">
            <a:avLst/>
          </a:prstGeom>
        </p:spPr>
        <p:txBody>
          <a:bodyPr vert="horz" lIns="91440" tIns="45720" rIns="91440" bIns="45720" rtlCol="0">
            <a:normAutofit/>
          </a:bodyPr>
          <a:lstStyle>
            <a:lvl1pPr marL="274320" indent="-274320" algn="l" defTabSz="914400" rtl="0" eaLnBrk="1" latinLnBrk="0" hangingPunct="1">
              <a:lnSpc>
                <a:spcPct val="100000"/>
              </a:lnSpc>
              <a:spcBef>
                <a:spcPts val="0"/>
              </a:spcBef>
              <a:spcAft>
                <a:spcPts val="600"/>
              </a:spcAft>
              <a:buClr>
                <a:schemeClr val="tx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lnSpc>
                <a:spcPct val="100000"/>
              </a:lnSpc>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58220"/>
              </a:buClr>
              <a:buSzTx/>
              <a:buFont typeface="Wingdings" panose="05000000000000000000" pitchFamily="2" charset="2"/>
              <a:buNone/>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panose="020B0604020202020204" pitchFamily="34" charset="0"/>
                <a:ea typeface="+mn-ea"/>
                <a:cs typeface="Arial" panose="020B0604020202020204" pitchFamily="34" charset="0"/>
              </a:rPr>
              <a:t>To get rewarded, Pro Xtra member’s must:</a:t>
            </a:r>
          </a:p>
          <a:p>
            <a:pPr marL="0" marR="0" lvl="0" indent="0" algn="l" defTabSz="914400" rtl="0" eaLnBrk="1" fontAlgn="auto" latinLnBrk="0" hangingPunct="1">
              <a:lnSpc>
                <a:spcPct val="100000"/>
              </a:lnSpc>
              <a:spcBef>
                <a:spcPts val="0"/>
              </a:spcBef>
              <a:spcAft>
                <a:spcPts val="600"/>
              </a:spcAft>
              <a:buClr>
                <a:srgbClr val="F58220"/>
              </a:buClr>
              <a:buSzTx/>
              <a:buFont typeface="Wingdings" panose="05000000000000000000" pitchFamily="2" charset="2"/>
              <a:buNone/>
              <a:tabLst/>
              <a:defRPr/>
            </a:pPr>
            <a:endParaRPr kumimoji="0" lang="en-US" sz="1100" b="0" i="0" u="none" strike="noStrike" kern="1200" cap="none" spc="0" normalizeH="0" baseline="0" noProof="0" dirty="0">
              <a:ln>
                <a:noFill/>
              </a:ln>
              <a:solidFill>
                <a:srgbClr val="1C1C1C">
                  <a:lumMod val="75000"/>
                  <a:lumOff val="25000"/>
                </a:srgbClr>
              </a:solidFill>
              <a:effectLst/>
              <a:uLnTx/>
              <a:uFillTx/>
              <a:latin typeface="Arial" panose="020B0604020202020204" pitchFamily="34" charset="0"/>
              <a:ea typeface="+mn-ea"/>
              <a:cs typeface="Arial" panose="020B0604020202020204" pitchFamily="34" charset="0"/>
            </a:endParaRPr>
          </a:p>
          <a:p>
            <a:pPr marL="274320" marR="0" lvl="0" indent="-274320" algn="l" defTabSz="914400" rtl="0" eaLnBrk="1" fontAlgn="auto" latinLnBrk="0" hangingPunct="1">
              <a:lnSpc>
                <a:spcPct val="100000"/>
              </a:lnSpc>
              <a:spcBef>
                <a:spcPts val="0"/>
              </a:spcBef>
              <a:spcAft>
                <a:spcPts val="60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panose="020B0604020202020204" pitchFamily="34" charset="0"/>
                <a:ea typeface="+mn-ea"/>
                <a:cs typeface="Arial" panose="020B0604020202020204" pitchFamily="34" charset="0"/>
              </a:rPr>
              <a:t>Be a member of Pro Xtra </a:t>
            </a:r>
          </a:p>
          <a:p>
            <a:pPr marL="274320" marR="0" lvl="0" indent="-274320" algn="l" defTabSz="914400" rtl="0" eaLnBrk="1" fontAlgn="auto" latinLnBrk="0" hangingPunct="1">
              <a:lnSpc>
                <a:spcPct val="100000"/>
              </a:lnSpc>
              <a:spcBef>
                <a:spcPts val="0"/>
              </a:spcBef>
              <a:spcAft>
                <a:spcPts val="60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panose="020B0604020202020204" pitchFamily="34" charset="0"/>
                <a:ea typeface="+mn-ea"/>
                <a:cs typeface="Arial" panose="020B0604020202020204" pitchFamily="34" charset="0"/>
              </a:rPr>
              <a:t>Use their Pro Xtra ID when shopping or add their receipt to their account after they make a purchase. </a:t>
            </a:r>
          </a:p>
          <a:p>
            <a:pPr marL="274320" marR="0" lvl="0" indent="-274320" algn="l" defTabSz="914400" rtl="0" eaLnBrk="1" fontAlgn="auto" latinLnBrk="0" hangingPunct="1">
              <a:lnSpc>
                <a:spcPct val="100000"/>
              </a:lnSpc>
              <a:spcBef>
                <a:spcPts val="0"/>
              </a:spcBef>
              <a:spcAft>
                <a:spcPts val="60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panose="020B0604020202020204" pitchFamily="34" charset="0"/>
                <a:ea typeface="+mn-ea"/>
                <a:cs typeface="Arial" panose="020B0604020202020204" pitchFamily="34" charset="0"/>
              </a:rPr>
              <a:t>Add receipt within payout period.  </a:t>
            </a:r>
          </a:p>
          <a:p>
            <a:pPr marL="274320" marR="0" lvl="0" indent="-274320" algn="l" defTabSz="914400" rtl="0" eaLnBrk="1" fontAlgn="auto" latinLnBrk="0" hangingPunct="1">
              <a:lnSpc>
                <a:spcPct val="100000"/>
              </a:lnSpc>
              <a:spcBef>
                <a:spcPts val="0"/>
              </a:spcBef>
              <a:spcAft>
                <a:spcPts val="600"/>
              </a:spcAft>
              <a:buClr>
                <a:srgbClr val="F58220"/>
              </a:buClr>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1C1C1C"/>
              </a:solidFill>
              <a:effectLst/>
              <a:uLnTx/>
              <a:uFillTx/>
              <a:latin typeface="Arial" panose="020B0604020202020204" pitchFamily="34" charset="0"/>
              <a:ea typeface="+mn-ea"/>
              <a:cs typeface="Arial" panose="020B0604020202020204" pitchFamily="34" charset="0"/>
            </a:endParaRPr>
          </a:p>
          <a:p>
            <a:pPr marL="274320" marR="0" lvl="0" indent="-274320" algn="l" defTabSz="914400" rtl="0" eaLnBrk="1" fontAlgn="auto" latinLnBrk="0" hangingPunct="1">
              <a:lnSpc>
                <a:spcPct val="100000"/>
              </a:lnSpc>
              <a:spcBef>
                <a:spcPts val="0"/>
              </a:spcBef>
              <a:spcAft>
                <a:spcPts val="600"/>
              </a:spcAft>
              <a:buClr>
                <a:srgbClr val="F58220"/>
              </a:buClr>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1C1C1C"/>
              </a:solidFill>
              <a:effectLst/>
              <a:uLnTx/>
              <a:uFillTx/>
              <a:latin typeface="Arial" panose="020B0604020202020204" pitchFamily="34" charset="0"/>
              <a:ea typeface="+mn-ea"/>
              <a:cs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67353942-D56A-4065-9C10-A9E26B60A4D0}"/>
              </a:ext>
            </a:extLst>
          </p:cNvPr>
          <p:cNvPicPr>
            <a:picLocks noChangeAspect="1"/>
          </p:cNvPicPr>
          <p:nvPr/>
        </p:nvPicPr>
        <p:blipFill>
          <a:blip r:embed="rId3">
            <a:extLst>
              <a:ext uri="{28A0092B-C50C-407E-A947-70E740481C1C}">
                <a14:useLocalDpi xmlns:a14="http://schemas.microsoft.com/office/drawing/2010/main" val="0"/>
              </a:ext>
            </a:extLst>
          </a:blip>
          <a:srcRect b="30744"/>
          <a:stretch/>
        </p:blipFill>
        <p:spPr>
          <a:xfrm>
            <a:off x="889750" y="2488653"/>
            <a:ext cx="3448050" cy="1081753"/>
          </a:xfrm>
          <a:prstGeom prst="rect">
            <a:avLst/>
          </a:prstGeom>
        </p:spPr>
      </p:pic>
      <p:sp>
        <p:nvSpPr>
          <p:cNvPr id="12" name="TextBox 11">
            <a:extLst>
              <a:ext uri="{FF2B5EF4-FFF2-40B4-BE49-F238E27FC236}">
                <a16:creationId xmlns:a16="http://schemas.microsoft.com/office/drawing/2014/main" id="{7B205F72-2D91-4036-9B7F-C43FE7DA3281}"/>
              </a:ext>
            </a:extLst>
          </p:cNvPr>
          <p:cNvSpPr txBox="1"/>
          <p:nvPr/>
        </p:nvSpPr>
        <p:spPr>
          <a:xfrm>
            <a:off x="372010" y="129121"/>
            <a:ext cx="114479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58220"/>
                </a:solidFill>
                <a:effectLst/>
                <a:uLnTx/>
                <a:uFillTx/>
                <a:latin typeface="Arial" panose="020B0604020202020204" pitchFamily="34" charset="0"/>
                <a:ea typeface="+mn-ea"/>
                <a:cs typeface="Arial" panose="020B0604020202020204" pitchFamily="34" charset="0"/>
              </a:rPr>
              <a:t>Pay Out Structure </a:t>
            </a:r>
            <a:r>
              <a:rPr kumimoji="0" lang="en-US" sz="2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t>
            </a:r>
            <a:r>
              <a:rPr kumimoji="0" lang="en-US" sz="2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Quarterly Rewards </a:t>
            </a: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graphicFrame>
        <p:nvGraphicFramePr>
          <p:cNvPr id="3" name="Object 2">
            <a:extLst>
              <a:ext uri="{FF2B5EF4-FFF2-40B4-BE49-F238E27FC236}">
                <a16:creationId xmlns:a16="http://schemas.microsoft.com/office/drawing/2014/main" id="{9D9274D4-D375-475E-9D3D-3418EC2038B5}"/>
              </a:ext>
            </a:extLst>
          </p:cNvPr>
          <p:cNvGraphicFramePr>
            <a:graphicFrameLocks noChangeAspect="1"/>
          </p:cNvGraphicFramePr>
          <p:nvPr/>
        </p:nvGraphicFramePr>
        <p:xfrm>
          <a:off x="5153025" y="2635717"/>
          <a:ext cx="6851650" cy="1089639"/>
        </p:xfrm>
        <a:graphic>
          <a:graphicData uri="http://schemas.openxmlformats.org/presentationml/2006/ole">
            <mc:AlternateContent xmlns:mc="http://schemas.openxmlformats.org/markup-compatibility/2006">
              <mc:Choice xmlns:v="urn:schemas-microsoft-com:vml" Requires="v">
                <p:oleObj name="Worksheet" r:id="rId4" imgW="4991223" imgH="793794" progId="Excel.Sheet.12">
                  <p:embed/>
                </p:oleObj>
              </mc:Choice>
              <mc:Fallback>
                <p:oleObj name="Worksheet" r:id="rId4" imgW="4991223" imgH="793794" progId="Excel.Sheet.12">
                  <p:embed/>
                  <p:pic>
                    <p:nvPicPr>
                      <p:cNvPr id="3" name="Object 2">
                        <a:extLst>
                          <a:ext uri="{FF2B5EF4-FFF2-40B4-BE49-F238E27FC236}">
                            <a16:creationId xmlns:a16="http://schemas.microsoft.com/office/drawing/2014/main" id="{9D9274D4-D375-475E-9D3D-3418EC2038B5}"/>
                          </a:ext>
                        </a:extLst>
                      </p:cNvPr>
                      <p:cNvPicPr/>
                      <p:nvPr/>
                    </p:nvPicPr>
                    <p:blipFill>
                      <a:blip r:embed="rId5"/>
                      <a:stretch>
                        <a:fillRect/>
                      </a:stretch>
                    </p:blipFill>
                    <p:spPr>
                      <a:xfrm>
                        <a:off x="5153025" y="2635717"/>
                        <a:ext cx="6851650" cy="1089639"/>
                      </a:xfrm>
                      <a:prstGeom prst="rect">
                        <a:avLst/>
                      </a:prstGeom>
                    </p:spPr>
                  </p:pic>
                </p:oleObj>
              </mc:Fallback>
            </mc:AlternateContent>
          </a:graphicData>
        </a:graphic>
      </p:graphicFrame>
    </p:spTree>
    <p:extLst>
      <p:ext uri="{BB962C8B-B14F-4D97-AF65-F5344CB8AC3E}">
        <p14:creationId xmlns:p14="http://schemas.microsoft.com/office/powerpoint/2010/main" val="1340285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DEED2-5FD3-4487-AADF-0277064ED368}"/>
              </a:ext>
            </a:extLst>
          </p:cNvPr>
          <p:cNvSpPr>
            <a:spLocks noGrp="1"/>
          </p:cNvSpPr>
          <p:nvPr>
            <p:ph type="title"/>
          </p:nvPr>
        </p:nvSpPr>
        <p:spPr>
          <a:xfrm>
            <a:off x="390144" y="0"/>
            <a:ext cx="10972800" cy="762000"/>
          </a:xfrm>
        </p:spPr>
        <p:txBody>
          <a:bodyPr anchor="ctr">
            <a:normAutofit/>
          </a:bodyPr>
          <a:lstStyle/>
          <a:p>
            <a:r>
              <a:rPr kumimoji="0" lang="en-US" b="1" i="0" u="none" strike="noStrike" kern="1200" cap="none" spc="0" normalizeH="0" baseline="0" noProof="0" dirty="0">
                <a:ln>
                  <a:noFill/>
                </a:ln>
                <a:effectLst/>
                <a:uLnTx/>
                <a:uFillTx/>
              </a:rPr>
              <a:t>Home Depot </a:t>
            </a:r>
            <a:r>
              <a:rPr kumimoji="0" lang="en-US" b="1" i="0" u="none" strike="noStrike" kern="1200" cap="none" spc="0" normalizeH="0" baseline="0" noProof="0" dirty="0">
                <a:ln>
                  <a:noFill/>
                </a:ln>
                <a:solidFill>
                  <a:schemeClr val="accent1">
                    <a:lumMod val="75000"/>
                  </a:schemeClr>
                </a:solidFill>
                <a:effectLst/>
                <a:uLnTx/>
                <a:uFillTx/>
              </a:rPr>
              <a:t>| </a:t>
            </a:r>
            <a:r>
              <a:rPr kumimoji="0" lang="en-US" b="0" i="0" u="none" strike="noStrike" kern="1200" cap="none" spc="0" normalizeH="0" baseline="0" noProof="0" dirty="0">
                <a:ln>
                  <a:noFill/>
                </a:ln>
                <a:solidFill>
                  <a:schemeClr val="accent1">
                    <a:lumMod val="75000"/>
                  </a:schemeClr>
                </a:solidFill>
                <a:effectLst/>
                <a:uLnTx/>
                <a:uFillTx/>
              </a:rPr>
              <a:t>Commercial Invoice Account  </a:t>
            </a:r>
            <a:endParaRPr lang="en-CA" b="0" dirty="0">
              <a:solidFill>
                <a:schemeClr val="accent1">
                  <a:lumMod val="75000"/>
                </a:schemeClr>
              </a:solidFill>
            </a:endParaRPr>
          </a:p>
        </p:txBody>
      </p:sp>
      <p:pic>
        <p:nvPicPr>
          <p:cNvPr id="10" name="Content Placeholder 9">
            <a:extLst>
              <a:ext uri="{FF2B5EF4-FFF2-40B4-BE49-F238E27FC236}">
                <a16:creationId xmlns:a16="http://schemas.microsoft.com/office/drawing/2014/main" id="{08B43F1B-B319-4217-B999-896EA7C29C36}"/>
              </a:ext>
            </a:extLst>
          </p:cNvPr>
          <p:cNvPicPr>
            <a:picLocks noGrp="1" noChangeAspect="1"/>
          </p:cNvPicPr>
          <p:nvPr>
            <p:ph sz="half" idx="1"/>
          </p:nvPr>
        </p:nvPicPr>
        <p:blipFill>
          <a:blip r:embed="rId2"/>
          <a:stretch>
            <a:fillRect/>
          </a:stretch>
        </p:blipFill>
        <p:spPr>
          <a:xfrm>
            <a:off x="459232" y="1355059"/>
            <a:ext cx="5384800" cy="4482846"/>
          </a:xfrm>
          <a:noFill/>
        </p:spPr>
      </p:pic>
      <p:graphicFrame>
        <p:nvGraphicFramePr>
          <p:cNvPr id="12" name="Content Placeholder 11">
            <a:extLst>
              <a:ext uri="{FF2B5EF4-FFF2-40B4-BE49-F238E27FC236}">
                <a16:creationId xmlns:a16="http://schemas.microsoft.com/office/drawing/2014/main" id="{51C8B230-4325-4440-BB1E-BC60C9F4CBCC}"/>
              </a:ext>
            </a:extLst>
          </p:cNvPr>
          <p:cNvGraphicFramePr>
            <a:graphicFrameLocks noGrp="1"/>
          </p:cNvGraphicFramePr>
          <p:nvPr>
            <p:ph sz="half" idx="2"/>
          </p:nvPr>
        </p:nvGraphicFramePr>
        <p:xfrm>
          <a:off x="6046788" y="1066800"/>
          <a:ext cx="5384800" cy="5059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C62C89A8-F80C-4034-A5F3-C9AAA26F41F2}"/>
              </a:ext>
            </a:extLst>
          </p:cNvPr>
          <p:cNvSpPr>
            <a:spLocks noGrp="1"/>
          </p:cNvSpPr>
          <p:nvPr>
            <p:ph type="sldNum" sz="quarter" idx="12"/>
          </p:nvPr>
        </p:nvSpPr>
        <p:spPr>
          <a:xfrm>
            <a:off x="-20320" y="6548375"/>
            <a:ext cx="2844800"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C6BDDE3B-6E17-4A89-9F93-DBB317C0A6AD}" type="slidenum">
              <a:rPr kumimoji="0" lang="en-US" sz="900" b="1" i="0" u="none" strike="noStrike" kern="1200" cap="none" spc="0" normalizeH="0" baseline="0" noProof="0" smtClean="0">
                <a:ln>
                  <a:noFill/>
                </a:ln>
                <a:solidFill>
                  <a:srgbClr val="1C1C1C"/>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12</a:t>
            </a:fld>
            <a:endParaRPr kumimoji="0" lang="en-US" sz="900" b="1" i="0" u="none" strike="noStrike" kern="1200" cap="none" spc="0" normalizeH="0" baseline="0" noProof="0" dirty="0">
              <a:ln>
                <a:noFill/>
              </a:ln>
              <a:solidFill>
                <a:srgbClr val="1C1C1C"/>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462FBC79-582B-F8F9-42C6-D2771364C721}"/>
              </a:ext>
            </a:extLst>
          </p:cNvPr>
          <p:cNvSpPr txBox="1"/>
          <p:nvPr/>
        </p:nvSpPr>
        <p:spPr>
          <a:xfrm>
            <a:off x="637794" y="6209821"/>
            <a:ext cx="776084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1C1C1C"/>
                </a:solidFill>
                <a:effectLst/>
                <a:uLnTx/>
                <a:uFillTx/>
                <a:latin typeface="Arial"/>
                <a:ea typeface="+mn-ea"/>
                <a:cs typeface="+mn-cs"/>
                <a:hlinkClick r:id="rId8"/>
              </a:rPr>
              <a:t>https://www.homedepot.ca/en/home/credit-services.html#CommercialAccount</a:t>
            </a:r>
            <a:r>
              <a:rPr kumimoji="0" lang="en-CA" sz="1600" b="0" i="0" u="none" strike="noStrike" kern="1200" cap="none" spc="0" normalizeH="0" baseline="0" noProof="0" dirty="0">
                <a:ln>
                  <a:noFill/>
                </a:ln>
                <a:solidFill>
                  <a:srgbClr val="1C1C1C"/>
                </a:solidFill>
                <a:effectLst/>
                <a:uLnTx/>
                <a:uFillTx/>
                <a:latin typeface="Arial"/>
                <a:ea typeface="+mn-ea"/>
                <a:cs typeface="+mn-cs"/>
              </a:rPr>
              <a:t> </a:t>
            </a:r>
          </a:p>
        </p:txBody>
      </p:sp>
    </p:spTree>
    <p:extLst>
      <p:ext uri="{BB962C8B-B14F-4D97-AF65-F5344CB8AC3E}">
        <p14:creationId xmlns:p14="http://schemas.microsoft.com/office/powerpoint/2010/main" val="35322897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CC30F-5509-40ED-AEA3-67C53C59110F}"/>
              </a:ext>
            </a:extLst>
          </p:cNvPr>
          <p:cNvSpPr>
            <a:spLocks noGrp="1"/>
          </p:cNvSpPr>
          <p:nvPr>
            <p:ph type="title"/>
          </p:nvPr>
        </p:nvSpPr>
        <p:spPr/>
        <p:txBody>
          <a:bodyPr/>
          <a:lstStyle/>
          <a:p>
            <a:r>
              <a:rPr lang="en-US" dirty="0"/>
              <a:t>Pro Xtra </a:t>
            </a:r>
            <a:r>
              <a:rPr kumimoji="0" lang="en-US" sz="2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j-ea"/>
                <a:cs typeface="Arial" panose="020B0604020202020204" pitchFamily="34" charset="0"/>
              </a:rPr>
              <a:t>| </a:t>
            </a:r>
            <a:r>
              <a:rPr kumimoji="0" lang="en-US" sz="2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j-ea"/>
                <a:cs typeface="Arial" panose="020B0604020202020204" pitchFamily="34" charset="0"/>
              </a:rPr>
              <a:t>Links and Contact </a:t>
            </a:r>
            <a:endParaRPr lang="en-CA" dirty="0"/>
          </a:p>
        </p:txBody>
      </p:sp>
      <p:sp>
        <p:nvSpPr>
          <p:cNvPr id="4" name="Slide Number Placeholder 3">
            <a:extLst>
              <a:ext uri="{FF2B5EF4-FFF2-40B4-BE49-F238E27FC236}">
                <a16:creationId xmlns:a16="http://schemas.microsoft.com/office/drawing/2014/main" id="{B2BBA40F-E83F-4CD9-AD43-D604DB49A00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6BDDE3B-6E17-4A89-9F93-DBB317C0A6AD}" type="slidenum">
              <a:rPr kumimoji="0" lang="en-US" sz="900" b="1" i="0" u="none" strike="noStrike" kern="1200" cap="none" spc="0" normalizeH="0" baseline="0" noProof="0" smtClean="0">
                <a:ln>
                  <a:noFill/>
                </a:ln>
                <a:solidFill>
                  <a:srgbClr val="1C1C1C"/>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900" b="1" i="0" u="none" strike="noStrike" kern="1200" cap="none" spc="0" normalizeH="0" baseline="0" noProof="0">
              <a:ln>
                <a:noFill/>
              </a:ln>
              <a:solidFill>
                <a:srgbClr val="1C1C1C"/>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5AC5B05B-A5B0-4164-9E57-8FECAFB8235B}"/>
              </a:ext>
            </a:extLst>
          </p:cNvPr>
          <p:cNvSpPr txBox="1"/>
          <p:nvPr/>
        </p:nvSpPr>
        <p:spPr>
          <a:xfrm>
            <a:off x="390144" y="861110"/>
            <a:ext cx="9744457" cy="67403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Calibri" panose="020F0502020204030204" pitchFamily="34" charset="0"/>
                <a:cs typeface="+mn-cs"/>
              </a:rPr>
              <a:t>B2B vide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mn-cs"/>
                <a:hlinkClick r:id="rId2"/>
              </a:rPr>
              <a:t>https://vimeo.com/460226417</a:t>
            </a:r>
            <a:endParaRPr kumimoji="0" lang="en-CA" sz="1800" b="0" i="0" u="sng" strike="noStrike" kern="1200" cap="none" spc="0" normalizeH="0" baseline="0" noProof="0" dirty="0">
              <a:ln>
                <a:noFill/>
              </a:ln>
              <a:solidFill>
                <a:srgbClr val="0563C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sng" strike="noStrike" kern="1200" cap="none" spc="0" normalizeH="0" baseline="0" noProof="0" dirty="0">
              <a:ln>
                <a:noFill/>
              </a:ln>
              <a:solidFill>
                <a:srgbClr val="0563C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Pro Xtra Base Reward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D0D0D0">
                    <a:lumMod val="75000"/>
                  </a:srgbClr>
                </a:solidFill>
                <a:effectLst/>
                <a:uLnTx/>
                <a:uFillTx/>
                <a:latin typeface="Calibri" panose="020F0502020204030204" pitchFamily="34" charset="0"/>
                <a:ea typeface="+mn-ea"/>
                <a:cs typeface="+mn-cs"/>
                <a:hlinkClick r:id="rId3"/>
              </a:rPr>
              <a:t>https://www.homedepot.ca/en/home/pro/proxtra.html</a:t>
            </a:r>
            <a:r>
              <a:rPr kumimoji="0" lang="en-CA" sz="1800" b="0" i="0" u="none" strike="noStrike" kern="1200" cap="none" spc="0" normalizeH="0" baseline="0" noProof="0" dirty="0">
                <a:ln>
                  <a:noFill/>
                </a:ln>
                <a:solidFill>
                  <a:srgbClr val="D0D0D0">
                    <a:lumMod val="75000"/>
                  </a:srgbClr>
                </a:solidFill>
                <a:effectLst/>
                <a:uLnTx/>
                <a:uFillTx/>
                <a:latin typeface="Calibri" panose="020F050202020403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Pro Xtra Paint Reward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 </a:t>
            </a: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hlinkClick r:id="rId4"/>
              </a:rPr>
              <a:t>https://www.homedepot.ca/en/home/pro/proxtra/pro-paint-rewards.html</a:t>
            </a: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Pro Xtra  Terms and Condi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 </a:t>
            </a: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hlinkClick r:id="rId5"/>
              </a:rPr>
              <a:t>https://www.homedepot.ca/en/home/pro/proxtra/terms-and-conditions.html</a:t>
            </a: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FAQ</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hlinkClick r:id="rId6"/>
              </a:rPr>
              <a:t>https://www.homedepot.ca/en/home/pro/proxtra/frequently-asked-questions.html</a:t>
            </a: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Lisa Brow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National Account Manag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The Home Depot Canad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hlinkClick r:id="rId7"/>
              </a:rPr>
              <a:t>Lisa_x_brown@homedepot.com</a:t>
            </a: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416 677 2227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16621"/>
                </a:solidFill>
                <a:effectLst/>
                <a:uLnTx/>
                <a:uFillTx/>
                <a:latin typeface="Calibri" panose="020F0502020204030204" pitchFamily="34" charset="0"/>
                <a:ea typeface="+mn-ea"/>
                <a:cs typeface="+mn-cs"/>
              </a:rPr>
              <a:t> </a:t>
            </a:r>
            <a:endParaRPr kumimoji="0" lang="en-CA" sz="1800" b="0" i="0" u="none" strike="noStrike" kern="1200" cap="none" spc="0" normalizeH="0" baseline="0" noProof="0" dirty="0">
              <a:ln>
                <a:noFill/>
              </a:ln>
              <a:solidFill>
                <a:srgbClr val="F16621"/>
              </a:solidFill>
              <a:effectLst/>
              <a:uLnTx/>
              <a:uFillTx/>
              <a:latin typeface="Arial"/>
              <a:ea typeface="+mn-ea"/>
              <a:cs typeface="+mn-cs"/>
            </a:endParaRPr>
          </a:p>
        </p:txBody>
      </p:sp>
      <p:pic>
        <p:nvPicPr>
          <p:cNvPr id="5" name="Picture 4" descr="Logo&#10;&#10;Description automatically generated">
            <a:extLst>
              <a:ext uri="{FF2B5EF4-FFF2-40B4-BE49-F238E27FC236}">
                <a16:creationId xmlns:a16="http://schemas.microsoft.com/office/drawing/2014/main" id="{F67B0D6B-FE7A-42FD-A5F7-77BCBD177AFC}"/>
              </a:ext>
            </a:extLst>
          </p:cNvPr>
          <p:cNvPicPr>
            <a:picLocks noChangeAspect="1"/>
          </p:cNvPicPr>
          <p:nvPr/>
        </p:nvPicPr>
        <p:blipFill>
          <a:blip r:embed="rId8">
            <a:extLst>
              <a:ext uri="{28A0092B-C50C-407E-A947-70E740481C1C}">
                <a14:useLocalDpi xmlns:a14="http://schemas.microsoft.com/office/drawing/2010/main" val="0"/>
              </a:ext>
            </a:extLst>
          </a:blip>
          <a:srcRect b="33753"/>
          <a:stretch/>
        </p:blipFill>
        <p:spPr>
          <a:xfrm>
            <a:off x="8117541" y="5580705"/>
            <a:ext cx="2539143" cy="762000"/>
          </a:xfrm>
          <a:prstGeom prst="rect">
            <a:avLst/>
          </a:prstGeom>
        </p:spPr>
      </p:pic>
    </p:spTree>
    <p:extLst>
      <p:ext uri="{BB962C8B-B14F-4D97-AF65-F5344CB8AC3E}">
        <p14:creationId xmlns:p14="http://schemas.microsoft.com/office/powerpoint/2010/main" val="2677730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4A73EA-E27A-406E-9DAA-102BC6CD9EBE}"/>
              </a:ext>
            </a:extLst>
          </p:cNvPr>
          <p:cNvSpPr>
            <a:spLocks noGrp="1"/>
          </p:cNvSpPr>
          <p:nvPr>
            <p:ph type="title"/>
          </p:nvPr>
        </p:nvSpPr>
        <p:spPr>
          <a:xfrm>
            <a:off x="390144" y="134873"/>
            <a:ext cx="12945712" cy="762000"/>
          </a:xfrm>
        </p:spPr>
        <p:txBody>
          <a:bodyPr/>
          <a:lstStyle/>
          <a:p>
            <a:r>
              <a:rPr lang="en-US" dirty="0"/>
              <a:t>The Home Depot </a:t>
            </a:r>
            <a:r>
              <a:rPr lang="en-US" dirty="0">
                <a:solidFill>
                  <a:schemeClr val="bg1">
                    <a:lumMod val="50000"/>
                  </a:schemeClr>
                </a:solidFill>
              </a:rPr>
              <a:t>| </a:t>
            </a:r>
            <a:r>
              <a:rPr lang="en-US" b="0" dirty="0">
                <a:solidFill>
                  <a:schemeClr val="tx1">
                    <a:lumMod val="50000"/>
                    <a:lumOff val="50000"/>
                  </a:schemeClr>
                </a:solidFill>
                <a:latin typeface="Franklin Gothic Demi Cond" panose="020B0706030402020204" pitchFamily="34" charset="0"/>
              </a:rPr>
              <a:t>Product and Service Offerings</a:t>
            </a:r>
            <a:endParaRPr lang="en-CA" b="0" dirty="0">
              <a:solidFill>
                <a:schemeClr val="tx1">
                  <a:lumMod val="50000"/>
                  <a:lumOff val="50000"/>
                </a:schemeClr>
              </a:solidFill>
            </a:endParaRPr>
          </a:p>
        </p:txBody>
      </p:sp>
      <p:sp>
        <p:nvSpPr>
          <p:cNvPr id="31" name="Rectangle 30">
            <a:extLst>
              <a:ext uri="{FF2B5EF4-FFF2-40B4-BE49-F238E27FC236}">
                <a16:creationId xmlns:a16="http://schemas.microsoft.com/office/drawing/2014/main" id="{92699048-17B1-438C-AD2A-42CDF2299D73}"/>
              </a:ext>
            </a:extLst>
          </p:cNvPr>
          <p:cNvSpPr/>
          <p:nvPr/>
        </p:nvSpPr>
        <p:spPr>
          <a:xfrm>
            <a:off x="4777708" y="1837100"/>
            <a:ext cx="928500" cy="891459"/>
          </a:xfrm>
          <a:prstGeom prst="rect">
            <a:avLst/>
          </a:prstGeom>
          <a:solidFill>
            <a:sysClr val="window" lastClr="FFFFFF"/>
          </a:solidFill>
          <a:ln w="63500" cap="flat" cmpd="sng" algn="ctr">
            <a:solidFill>
              <a:srgbClr val="A0A5AA"/>
            </a:solidFill>
            <a:prstDash val="solid"/>
            <a:miter lim="800000"/>
          </a:ln>
          <a:effectLst>
            <a:innerShdw blurRad="127000" dist="127000" dir="13200000">
              <a:prstClr val="black">
                <a:alpha val="50000"/>
              </a:prstClr>
            </a:innerShdw>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3" name="Rectangle 32">
            <a:extLst>
              <a:ext uri="{FF2B5EF4-FFF2-40B4-BE49-F238E27FC236}">
                <a16:creationId xmlns:a16="http://schemas.microsoft.com/office/drawing/2014/main" id="{4A332367-E2C1-47E0-B5E1-19E0F135D695}"/>
              </a:ext>
            </a:extLst>
          </p:cNvPr>
          <p:cNvSpPr/>
          <p:nvPr/>
        </p:nvSpPr>
        <p:spPr>
          <a:xfrm>
            <a:off x="4777708" y="2938384"/>
            <a:ext cx="928500" cy="891459"/>
          </a:xfrm>
          <a:prstGeom prst="rect">
            <a:avLst/>
          </a:prstGeom>
          <a:solidFill>
            <a:sysClr val="window" lastClr="FFFFFF"/>
          </a:solidFill>
          <a:ln w="63500" cap="flat" cmpd="sng" algn="ctr">
            <a:solidFill>
              <a:srgbClr val="BBC0C3"/>
            </a:solidFill>
            <a:prstDash val="solid"/>
            <a:miter lim="800000"/>
          </a:ln>
          <a:effectLst>
            <a:innerShdw blurRad="127000" dist="127000" dir="13200000">
              <a:prstClr val="black">
                <a:alpha val="50000"/>
              </a:prstClr>
            </a:innerShdw>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ea typeface="+mn-ea"/>
              <a:cs typeface="Arial" pitchFamily="34" charset="0"/>
            </a:endParaRPr>
          </a:p>
        </p:txBody>
      </p:sp>
      <p:sp>
        <p:nvSpPr>
          <p:cNvPr id="35" name="Rectangle 34">
            <a:extLst>
              <a:ext uri="{FF2B5EF4-FFF2-40B4-BE49-F238E27FC236}">
                <a16:creationId xmlns:a16="http://schemas.microsoft.com/office/drawing/2014/main" id="{9E8FE268-C048-4F05-8367-9F13182DE8CB}"/>
              </a:ext>
            </a:extLst>
          </p:cNvPr>
          <p:cNvSpPr/>
          <p:nvPr/>
        </p:nvSpPr>
        <p:spPr>
          <a:xfrm>
            <a:off x="4777708" y="4039668"/>
            <a:ext cx="928500" cy="891459"/>
          </a:xfrm>
          <a:prstGeom prst="rect">
            <a:avLst/>
          </a:prstGeom>
          <a:solidFill>
            <a:sysClr val="window" lastClr="FFFFFF"/>
          </a:solidFill>
          <a:ln w="63500" cap="flat" cmpd="sng" algn="ctr">
            <a:solidFill>
              <a:srgbClr val="E7E5E6"/>
            </a:solidFill>
            <a:prstDash val="solid"/>
            <a:miter lim="800000"/>
          </a:ln>
          <a:effectLst>
            <a:innerShdw blurRad="127000" dist="127000" dir="13200000">
              <a:prstClr val="black">
                <a:alpha val="50000"/>
              </a:prstClr>
            </a:innerShdw>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6" name="Rectangle 35">
            <a:extLst>
              <a:ext uri="{FF2B5EF4-FFF2-40B4-BE49-F238E27FC236}">
                <a16:creationId xmlns:a16="http://schemas.microsoft.com/office/drawing/2014/main" id="{87280946-73F9-4DC8-BC80-C0C7023F5411}"/>
              </a:ext>
            </a:extLst>
          </p:cNvPr>
          <p:cNvSpPr/>
          <p:nvPr/>
        </p:nvSpPr>
        <p:spPr>
          <a:xfrm>
            <a:off x="4777708" y="5130837"/>
            <a:ext cx="928500" cy="891459"/>
          </a:xfrm>
          <a:prstGeom prst="rect">
            <a:avLst/>
          </a:prstGeom>
          <a:solidFill>
            <a:sysClr val="window" lastClr="FFFFFF"/>
          </a:solidFill>
          <a:ln w="63500" cap="flat" cmpd="sng" algn="ctr">
            <a:solidFill>
              <a:srgbClr val="F27900"/>
            </a:solidFill>
            <a:prstDash val="solid"/>
            <a:miter lim="800000"/>
          </a:ln>
          <a:effectLst>
            <a:innerShdw blurRad="127000" dist="127000" dir="13200000">
              <a:prstClr val="black">
                <a:alpha val="50000"/>
              </a:prstClr>
            </a:innerShdw>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7" name="Freeform 4">
            <a:extLst>
              <a:ext uri="{FF2B5EF4-FFF2-40B4-BE49-F238E27FC236}">
                <a16:creationId xmlns:a16="http://schemas.microsoft.com/office/drawing/2014/main" id="{A6F8285F-5F7E-4753-82AE-0DB9573B233F}"/>
              </a:ext>
            </a:extLst>
          </p:cNvPr>
          <p:cNvSpPr/>
          <p:nvPr/>
        </p:nvSpPr>
        <p:spPr>
          <a:xfrm>
            <a:off x="2700682" y="2907813"/>
            <a:ext cx="2056195" cy="1032243"/>
          </a:xfrm>
          <a:custGeom>
            <a:avLst/>
            <a:gdLst>
              <a:gd name="connsiteX0" fmla="*/ 1621972 w 1621972"/>
              <a:gd name="connsiteY0" fmla="*/ 0 h 925286"/>
              <a:gd name="connsiteX1" fmla="*/ 0 w 1621972"/>
              <a:gd name="connsiteY1" fmla="*/ 925286 h 925286"/>
              <a:gd name="connsiteX2" fmla="*/ 1621972 w 1621972"/>
              <a:gd name="connsiteY2" fmla="*/ 849086 h 925286"/>
              <a:gd name="connsiteX3" fmla="*/ 1621972 w 1621972"/>
              <a:gd name="connsiteY3" fmla="*/ 0 h 925286"/>
              <a:gd name="connsiteX0" fmla="*/ 1632858 w 1632858"/>
              <a:gd name="connsiteY0" fmla="*/ 0 h 957943"/>
              <a:gd name="connsiteX1" fmla="*/ 0 w 1632858"/>
              <a:gd name="connsiteY1" fmla="*/ 957943 h 957943"/>
              <a:gd name="connsiteX2" fmla="*/ 1621972 w 1632858"/>
              <a:gd name="connsiteY2" fmla="*/ 881743 h 957943"/>
              <a:gd name="connsiteX3" fmla="*/ 1632858 w 1632858"/>
              <a:gd name="connsiteY3" fmla="*/ 0 h 957943"/>
              <a:gd name="connsiteX0" fmla="*/ 1632858 w 1654629"/>
              <a:gd name="connsiteY0" fmla="*/ 0 h 957943"/>
              <a:gd name="connsiteX1" fmla="*/ 0 w 1654629"/>
              <a:gd name="connsiteY1" fmla="*/ 957943 h 957943"/>
              <a:gd name="connsiteX2" fmla="*/ 1654629 w 1654629"/>
              <a:gd name="connsiteY2" fmla="*/ 903515 h 957943"/>
              <a:gd name="connsiteX3" fmla="*/ 1632858 w 1654629"/>
              <a:gd name="connsiteY3" fmla="*/ 0 h 957943"/>
              <a:gd name="connsiteX0" fmla="*/ 1643743 w 1654629"/>
              <a:gd name="connsiteY0" fmla="*/ 0 h 979714"/>
              <a:gd name="connsiteX1" fmla="*/ 0 w 1654629"/>
              <a:gd name="connsiteY1" fmla="*/ 979714 h 979714"/>
              <a:gd name="connsiteX2" fmla="*/ 1654629 w 1654629"/>
              <a:gd name="connsiteY2" fmla="*/ 925286 h 979714"/>
              <a:gd name="connsiteX3" fmla="*/ 1643743 w 1654629"/>
              <a:gd name="connsiteY3" fmla="*/ 0 h 979714"/>
              <a:gd name="connsiteX0" fmla="*/ 1630212 w 1654629"/>
              <a:gd name="connsiteY0" fmla="*/ 0 h 947057"/>
              <a:gd name="connsiteX1" fmla="*/ 0 w 1654629"/>
              <a:gd name="connsiteY1" fmla="*/ 947057 h 947057"/>
              <a:gd name="connsiteX2" fmla="*/ 1654629 w 1654629"/>
              <a:gd name="connsiteY2" fmla="*/ 892629 h 947057"/>
              <a:gd name="connsiteX3" fmla="*/ 1630212 w 1654629"/>
              <a:gd name="connsiteY3" fmla="*/ 0 h 947057"/>
              <a:gd name="connsiteX0" fmla="*/ 1657273 w 1657273"/>
              <a:gd name="connsiteY0" fmla="*/ 0 h 968828"/>
              <a:gd name="connsiteX1" fmla="*/ 0 w 1657273"/>
              <a:gd name="connsiteY1" fmla="*/ 968828 h 968828"/>
              <a:gd name="connsiteX2" fmla="*/ 1654629 w 1657273"/>
              <a:gd name="connsiteY2" fmla="*/ 914400 h 968828"/>
              <a:gd name="connsiteX3" fmla="*/ 1657273 w 1657273"/>
              <a:gd name="connsiteY3" fmla="*/ 0 h 968828"/>
              <a:gd name="connsiteX0" fmla="*/ 1684334 w 1684334"/>
              <a:gd name="connsiteY0" fmla="*/ 0 h 990599"/>
              <a:gd name="connsiteX1" fmla="*/ 0 w 1684334"/>
              <a:gd name="connsiteY1" fmla="*/ 990599 h 990599"/>
              <a:gd name="connsiteX2" fmla="*/ 1654629 w 1684334"/>
              <a:gd name="connsiteY2" fmla="*/ 936171 h 990599"/>
              <a:gd name="connsiteX3" fmla="*/ 1684334 w 1684334"/>
              <a:gd name="connsiteY3" fmla="*/ 0 h 990599"/>
              <a:gd name="connsiteX0" fmla="*/ 1589618 w 1654636"/>
              <a:gd name="connsiteY0" fmla="*/ 0 h 947056"/>
              <a:gd name="connsiteX1" fmla="*/ 0 w 1654636"/>
              <a:gd name="connsiteY1" fmla="*/ 947056 h 947056"/>
              <a:gd name="connsiteX2" fmla="*/ 1654629 w 1654636"/>
              <a:gd name="connsiteY2" fmla="*/ 892628 h 947056"/>
              <a:gd name="connsiteX3" fmla="*/ 1589618 w 1654636"/>
              <a:gd name="connsiteY3" fmla="*/ 0 h 947056"/>
              <a:gd name="connsiteX0" fmla="*/ 1603149 w 1654638"/>
              <a:gd name="connsiteY0" fmla="*/ 0 h 979713"/>
              <a:gd name="connsiteX1" fmla="*/ 0 w 1654638"/>
              <a:gd name="connsiteY1" fmla="*/ 979713 h 979713"/>
              <a:gd name="connsiteX2" fmla="*/ 1654629 w 1654638"/>
              <a:gd name="connsiteY2" fmla="*/ 925285 h 979713"/>
              <a:gd name="connsiteX3" fmla="*/ 1603149 w 1654638"/>
              <a:gd name="connsiteY3" fmla="*/ 0 h 979713"/>
              <a:gd name="connsiteX0" fmla="*/ 1603149 w 1627589"/>
              <a:gd name="connsiteY0" fmla="*/ 0 h 979713"/>
              <a:gd name="connsiteX1" fmla="*/ 0 w 1627589"/>
              <a:gd name="connsiteY1" fmla="*/ 979713 h 979713"/>
              <a:gd name="connsiteX2" fmla="*/ 1627568 w 1627589"/>
              <a:gd name="connsiteY2" fmla="*/ 914399 h 979713"/>
              <a:gd name="connsiteX3" fmla="*/ 1603149 w 1627589"/>
              <a:gd name="connsiteY3" fmla="*/ 0 h 979713"/>
              <a:gd name="connsiteX0" fmla="*/ 1603149 w 1611762"/>
              <a:gd name="connsiteY0" fmla="*/ 0 h 979713"/>
              <a:gd name="connsiteX1" fmla="*/ 0 w 1611762"/>
              <a:gd name="connsiteY1" fmla="*/ 979713 h 979713"/>
              <a:gd name="connsiteX2" fmla="*/ 1611709 w 1611762"/>
              <a:gd name="connsiteY2" fmla="*/ 910146 h 979713"/>
              <a:gd name="connsiteX3" fmla="*/ 1603149 w 1611762"/>
              <a:gd name="connsiteY3" fmla="*/ 0 h 979713"/>
              <a:gd name="connsiteX0" fmla="*/ 1581944 w 1611727"/>
              <a:gd name="connsiteY0" fmla="*/ 0 h 979713"/>
              <a:gd name="connsiteX1" fmla="*/ 0 w 1611727"/>
              <a:gd name="connsiteY1" fmla="*/ 979713 h 979713"/>
              <a:gd name="connsiteX2" fmla="*/ 1611709 w 1611727"/>
              <a:gd name="connsiteY2" fmla="*/ 910146 h 979713"/>
              <a:gd name="connsiteX3" fmla="*/ 1581944 w 1611727"/>
              <a:gd name="connsiteY3" fmla="*/ 0 h 979713"/>
              <a:gd name="connsiteX0" fmla="*/ 1581944 w 1586350"/>
              <a:gd name="connsiteY0" fmla="*/ 0 h 979713"/>
              <a:gd name="connsiteX1" fmla="*/ 0 w 1586350"/>
              <a:gd name="connsiteY1" fmla="*/ 979713 h 979713"/>
              <a:gd name="connsiteX2" fmla="*/ 1586263 w 1586350"/>
              <a:gd name="connsiteY2" fmla="*/ 920382 h 979713"/>
              <a:gd name="connsiteX3" fmla="*/ 1581944 w 1586350"/>
              <a:gd name="connsiteY3" fmla="*/ 0 h 979713"/>
              <a:gd name="connsiteX0" fmla="*/ 1581944 w 1586350"/>
              <a:gd name="connsiteY0" fmla="*/ 0 h 979713"/>
              <a:gd name="connsiteX1" fmla="*/ 0 w 1586350"/>
              <a:gd name="connsiteY1" fmla="*/ 979713 h 979713"/>
              <a:gd name="connsiteX2" fmla="*/ 1586263 w 1586350"/>
              <a:gd name="connsiteY2" fmla="*/ 920382 h 979713"/>
              <a:gd name="connsiteX3" fmla="*/ 1581944 w 1586350"/>
              <a:gd name="connsiteY3" fmla="*/ 0 h 979713"/>
              <a:gd name="connsiteX0" fmla="*/ 1581944 w 1582267"/>
              <a:gd name="connsiteY0" fmla="*/ 0 h 979713"/>
              <a:gd name="connsiteX1" fmla="*/ 0 w 1582267"/>
              <a:gd name="connsiteY1" fmla="*/ 979713 h 979713"/>
              <a:gd name="connsiteX2" fmla="*/ 1582022 w 1582267"/>
              <a:gd name="connsiteY2" fmla="*/ 920382 h 979713"/>
              <a:gd name="connsiteX3" fmla="*/ 1581944 w 1582267"/>
              <a:gd name="connsiteY3" fmla="*/ 0 h 979713"/>
              <a:gd name="connsiteX0" fmla="*/ 1581944 w 1582267"/>
              <a:gd name="connsiteY0" fmla="*/ 0 h 972229"/>
              <a:gd name="connsiteX1" fmla="*/ 0 w 1582267"/>
              <a:gd name="connsiteY1" fmla="*/ 972229 h 972229"/>
              <a:gd name="connsiteX2" fmla="*/ 1582022 w 1582267"/>
              <a:gd name="connsiteY2" fmla="*/ 912898 h 972229"/>
              <a:gd name="connsiteX3" fmla="*/ 1581944 w 1582267"/>
              <a:gd name="connsiteY3" fmla="*/ 0 h 972229"/>
              <a:gd name="connsiteX0" fmla="*/ 1577945 w 1582112"/>
              <a:gd name="connsiteY0" fmla="*/ 0 h 974723"/>
              <a:gd name="connsiteX1" fmla="*/ 0 w 1582112"/>
              <a:gd name="connsiteY1" fmla="*/ 974723 h 974723"/>
              <a:gd name="connsiteX2" fmla="*/ 1582022 w 1582112"/>
              <a:gd name="connsiteY2" fmla="*/ 915392 h 974723"/>
              <a:gd name="connsiteX3" fmla="*/ 1577945 w 1582112"/>
              <a:gd name="connsiteY3" fmla="*/ 0 h 974723"/>
              <a:gd name="connsiteX0" fmla="*/ 1575945 w 1582091"/>
              <a:gd name="connsiteY0" fmla="*/ 0 h 969734"/>
              <a:gd name="connsiteX1" fmla="*/ 0 w 1582091"/>
              <a:gd name="connsiteY1" fmla="*/ 969734 h 969734"/>
              <a:gd name="connsiteX2" fmla="*/ 1582022 w 1582091"/>
              <a:gd name="connsiteY2" fmla="*/ 910403 h 969734"/>
              <a:gd name="connsiteX3" fmla="*/ 1575945 w 1582091"/>
              <a:gd name="connsiteY3" fmla="*/ 0 h 969734"/>
              <a:gd name="connsiteX0" fmla="*/ 1575945 w 1582091"/>
              <a:gd name="connsiteY0" fmla="*/ 0 h 972229"/>
              <a:gd name="connsiteX1" fmla="*/ 0 w 1582091"/>
              <a:gd name="connsiteY1" fmla="*/ 972229 h 972229"/>
              <a:gd name="connsiteX2" fmla="*/ 1582022 w 1582091"/>
              <a:gd name="connsiteY2" fmla="*/ 912898 h 972229"/>
              <a:gd name="connsiteX3" fmla="*/ 1575945 w 1582091"/>
              <a:gd name="connsiteY3" fmla="*/ 0 h 972229"/>
              <a:gd name="connsiteX0" fmla="*/ 1575945 w 1582091"/>
              <a:gd name="connsiteY0" fmla="*/ 0 h 974724"/>
              <a:gd name="connsiteX1" fmla="*/ 0 w 1582091"/>
              <a:gd name="connsiteY1" fmla="*/ 974724 h 974724"/>
              <a:gd name="connsiteX2" fmla="*/ 1582022 w 1582091"/>
              <a:gd name="connsiteY2" fmla="*/ 915393 h 974724"/>
              <a:gd name="connsiteX3" fmla="*/ 1575945 w 1582091"/>
              <a:gd name="connsiteY3" fmla="*/ 0 h 974724"/>
              <a:gd name="connsiteX0" fmla="*/ 1575945 w 1578155"/>
              <a:gd name="connsiteY0" fmla="*/ 0 h 974724"/>
              <a:gd name="connsiteX1" fmla="*/ 0 w 1578155"/>
              <a:gd name="connsiteY1" fmla="*/ 974724 h 974724"/>
              <a:gd name="connsiteX2" fmla="*/ 1578023 w 1578155"/>
              <a:gd name="connsiteY2" fmla="*/ 920382 h 974724"/>
              <a:gd name="connsiteX3" fmla="*/ 1575945 w 1578155"/>
              <a:gd name="connsiteY3" fmla="*/ 0 h 974724"/>
              <a:gd name="connsiteX0" fmla="*/ 1575945 w 1578155"/>
              <a:gd name="connsiteY0" fmla="*/ 0 h 974724"/>
              <a:gd name="connsiteX1" fmla="*/ 0 w 1578155"/>
              <a:gd name="connsiteY1" fmla="*/ 974724 h 974724"/>
              <a:gd name="connsiteX2" fmla="*/ 1578023 w 1578155"/>
              <a:gd name="connsiteY2" fmla="*/ 922875 h 974724"/>
              <a:gd name="connsiteX3" fmla="*/ 1575945 w 1578155"/>
              <a:gd name="connsiteY3" fmla="*/ 0 h 974724"/>
              <a:gd name="connsiteX0" fmla="*/ 1585943 w 1588153"/>
              <a:gd name="connsiteY0" fmla="*/ 0 h 972229"/>
              <a:gd name="connsiteX1" fmla="*/ 0 w 1588153"/>
              <a:gd name="connsiteY1" fmla="*/ 972229 h 972229"/>
              <a:gd name="connsiteX2" fmla="*/ 1588021 w 1588153"/>
              <a:gd name="connsiteY2" fmla="*/ 922875 h 972229"/>
              <a:gd name="connsiteX3" fmla="*/ 1585943 w 1588153"/>
              <a:gd name="connsiteY3" fmla="*/ 0 h 972229"/>
              <a:gd name="connsiteX0" fmla="*/ 1593941 w 1596151"/>
              <a:gd name="connsiteY0" fmla="*/ 0 h 999669"/>
              <a:gd name="connsiteX1" fmla="*/ 0 w 1596151"/>
              <a:gd name="connsiteY1" fmla="*/ 999669 h 999669"/>
              <a:gd name="connsiteX2" fmla="*/ 1596019 w 1596151"/>
              <a:gd name="connsiteY2" fmla="*/ 922875 h 999669"/>
              <a:gd name="connsiteX3" fmla="*/ 1593941 w 1596151"/>
              <a:gd name="connsiteY3" fmla="*/ 0 h 999669"/>
            </a:gdLst>
            <a:ahLst/>
            <a:cxnLst>
              <a:cxn ang="0">
                <a:pos x="connsiteX0" y="connsiteY0"/>
              </a:cxn>
              <a:cxn ang="0">
                <a:pos x="connsiteX1" y="connsiteY1"/>
              </a:cxn>
              <a:cxn ang="0">
                <a:pos x="connsiteX2" y="connsiteY2"/>
              </a:cxn>
              <a:cxn ang="0">
                <a:pos x="connsiteX3" y="connsiteY3"/>
              </a:cxn>
            </a:cxnLst>
            <a:rect l="l" t="t" r="r" b="b"/>
            <a:pathLst>
              <a:path w="1596151" h="999669">
                <a:moveTo>
                  <a:pt x="1593941" y="0"/>
                </a:moveTo>
                <a:lnTo>
                  <a:pt x="0" y="999669"/>
                </a:lnTo>
                <a:lnTo>
                  <a:pt x="1596019" y="922875"/>
                </a:lnTo>
                <a:cubicBezTo>
                  <a:pt x="1596900" y="618075"/>
                  <a:pt x="1593060" y="304800"/>
                  <a:pt x="1593941" y="0"/>
                </a:cubicBezTo>
                <a:close/>
              </a:path>
            </a:pathLst>
          </a:custGeom>
          <a:gradFill>
            <a:gsLst>
              <a:gs pos="0">
                <a:srgbClr val="BBC0C3">
                  <a:lumMod val="85000"/>
                </a:srgbClr>
              </a:gs>
              <a:gs pos="100000">
                <a:srgbClr val="BBC0C3"/>
              </a:gs>
            </a:gsLst>
            <a:lin ang="19800000" scaled="0"/>
          </a:gra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ea typeface="+mn-ea"/>
              <a:cs typeface="+mn-cs"/>
            </a:endParaRPr>
          </a:p>
        </p:txBody>
      </p:sp>
      <p:sp>
        <p:nvSpPr>
          <p:cNvPr id="38" name="Freeform 3">
            <a:extLst>
              <a:ext uri="{FF2B5EF4-FFF2-40B4-BE49-F238E27FC236}">
                <a16:creationId xmlns:a16="http://schemas.microsoft.com/office/drawing/2014/main" id="{8C6DEF44-A4B2-45B1-AEEF-4FC6628CB5B4}"/>
              </a:ext>
            </a:extLst>
          </p:cNvPr>
          <p:cNvSpPr/>
          <p:nvPr/>
        </p:nvSpPr>
        <p:spPr>
          <a:xfrm>
            <a:off x="2698364" y="1806188"/>
            <a:ext cx="2063810" cy="2133869"/>
          </a:xfrm>
          <a:custGeom>
            <a:avLst/>
            <a:gdLst>
              <a:gd name="connsiteX0" fmla="*/ 1621972 w 1621972"/>
              <a:gd name="connsiteY0" fmla="*/ 0 h 2035628"/>
              <a:gd name="connsiteX1" fmla="*/ 0 w 1621972"/>
              <a:gd name="connsiteY1" fmla="*/ 2035628 h 2035628"/>
              <a:gd name="connsiteX2" fmla="*/ 1621972 w 1621972"/>
              <a:gd name="connsiteY2" fmla="*/ 892628 h 2035628"/>
              <a:gd name="connsiteX3" fmla="*/ 1621972 w 1621972"/>
              <a:gd name="connsiteY3" fmla="*/ 0 h 2035628"/>
              <a:gd name="connsiteX0" fmla="*/ 1621972 w 1654629"/>
              <a:gd name="connsiteY0" fmla="*/ 0 h 2035628"/>
              <a:gd name="connsiteX1" fmla="*/ 0 w 1654629"/>
              <a:gd name="connsiteY1" fmla="*/ 2035628 h 2035628"/>
              <a:gd name="connsiteX2" fmla="*/ 1654629 w 1654629"/>
              <a:gd name="connsiteY2" fmla="*/ 881742 h 2035628"/>
              <a:gd name="connsiteX3" fmla="*/ 1621972 w 1654629"/>
              <a:gd name="connsiteY3" fmla="*/ 0 h 2035628"/>
              <a:gd name="connsiteX0" fmla="*/ 1635503 w 1654629"/>
              <a:gd name="connsiteY0" fmla="*/ 0 h 2013857"/>
              <a:gd name="connsiteX1" fmla="*/ 0 w 1654629"/>
              <a:gd name="connsiteY1" fmla="*/ 2013857 h 2013857"/>
              <a:gd name="connsiteX2" fmla="*/ 1654629 w 1654629"/>
              <a:gd name="connsiteY2" fmla="*/ 859971 h 2013857"/>
              <a:gd name="connsiteX3" fmla="*/ 1635503 w 1654629"/>
              <a:gd name="connsiteY3" fmla="*/ 0 h 2013857"/>
              <a:gd name="connsiteX0" fmla="*/ 1594911 w 1654629"/>
              <a:gd name="connsiteY0" fmla="*/ 0 h 2002971"/>
              <a:gd name="connsiteX1" fmla="*/ 0 w 1654629"/>
              <a:gd name="connsiteY1" fmla="*/ 2002971 h 2002971"/>
              <a:gd name="connsiteX2" fmla="*/ 1654629 w 1654629"/>
              <a:gd name="connsiteY2" fmla="*/ 849085 h 2002971"/>
              <a:gd name="connsiteX3" fmla="*/ 1594911 w 1654629"/>
              <a:gd name="connsiteY3" fmla="*/ 0 h 2002971"/>
              <a:gd name="connsiteX0" fmla="*/ 1600197 w 1654629"/>
              <a:gd name="connsiteY0" fmla="*/ 0 h 2002971"/>
              <a:gd name="connsiteX1" fmla="*/ 0 w 1654629"/>
              <a:gd name="connsiteY1" fmla="*/ 2002971 h 2002971"/>
              <a:gd name="connsiteX2" fmla="*/ 1654629 w 1654629"/>
              <a:gd name="connsiteY2" fmla="*/ 849085 h 2002971"/>
              <a:gd name="connsiteX3" fmla="*/ 1600197 w 1654629"/>
              <a:gd name="connsiteY3" fmla="*/ 0 h 2002971"/>
              <a:gd name="connsiteX0" fmla="*/ 1605484 w 1654629"/>
              <a:gd name="connsiteY0" fmla="*/ 0 h 2007224"/>
              <a:gd name="connsiteX1" fmla="*/ 0 w 1654629"/>
              <a:gd name="connsiteY1" fmla="*/ 2007224 h 2007224"/>
              <a:gd name="connsiteX2" fmla="*/ 1654629 w 1654629"/>
              <a:gd name="connsiteY2" fmla="*/ 853338 h 2007224"/>
              <a:gd name="connsiteX3" fmla="*/ 1605484 w 1654629"/>
              <a:gd name="connsiteY3" fmla="*/ 0 h 2007224"/>
              <a:gd name="connsiteX0" fmla="*/ 1605484 w 1612337"/>
              <a:gd name="connsiteY0" fmla="*/ 0 h 2007224"/>
              <a:gd name="connsiteX1" fmla="*/ 0 w 1612337"/>
              <a:gd name="connsiteY1" fmla="*/ 2007224 h 2007224"/>
              <a:gd name="connsiteX2" fmla="*/ 1612337 w 1612337"/>
              <a:gd name="connsiteY2" fmla="*/ 870350 h 2007224"/>
              <a:gd name="connsiteX3" fmla="*/ 1605484 w 1612337"/>
              <a:gd name="connsiteY3" fmla="*/ 0 h 2007224"/>
              <a:gd name="connsiteX0" fmla="*/ 1605484 w 1612337"/>
              <a:gd name="connsiteY0" fmla="*/ 0 h 2041344"/>
              <a:gd name="connsiteX1" fmla="*/ 0 w 1612337"/>
              <a:gd name="connsiteY1" fmla="*/ 2041344 h 2041344"/>
              <a:gd name="connsiteX2" fmla="*/ 1612337 w 1612337"/>
              <a:gd name="connsiteY2" fmla="*/ 904470 h 2041344"/>
              <a:gd name="connsiteX3" fmla="*/ 1605484 w 1612337"/>
              <a:gd name="connsiteY3" fmla="*/ 0 h 2041344"/>
              <a:gd name="connsiteX0" fmla="*/ 1605484 w 1612337"/>
              <a:gd name="connsiteY0" fmla="*/ 0 h 2041344"/>
              <a:gd name="connsiteX1" fmla="*/ 0 w 1612337"/>
              <a:gd name="connsiteY1" fmla="*/ 2041344 h 2041344"/>
              <a:gd name="connsiteX2" fmla="*/ 1612337 w 1612337"/>
              <a:gd name="connsiteY2" fmla="*/ 911293 h 2041344"/>
              <a:gd name="connsiteX3" fmla="*/ 1605484 w 1612337"/>
              <a:gd name="connsiteY3" fmla="*/ 0 h 2041344"/>
              <a:gd name="connsiteX0" fmla="*/ 1613967 w 1614481"/>
              <a:gd name="connsiteY0" fmla="*/ 0 h 2051579"/>
              <a:gd name="connsiteX1" fmla="*/ 0 w 1614481"/>
              <a:gd name="connsiteY1" fmla="*/ 2051579 h 2051579"/>
              <a:gd name="connsiteX2" fmla="*/ 1612337 w 1614481"/>
              <a:gd name="connsiteY2" fmla="*/ 921528 h 2051579"/>
              <a:gd name="connsiteX3" fmla="*/ 1613967 w 1614481"/>
              <a:gd name="connsiteY3" fmla="*/ 0 h 2051579"/>
              <a:gd name="connsiteX0" fmla="*/ 1597003 w 1612337"/>
              <a:gd name="connsiteY0" fmla="*/ 0 h 2048168"/>
              <a:gd name="connsiteX1" fmla="*/ 0 w 1612337"/>
              <a:gd name="connsiteY1" fmla="*/ 2048168 h 2048168"/>
              <a:gd name="connsiteX2" fmla="*/ 1612337 w 1612337"/>
              <a:gd name="connsiteY2" fmla="*/ 918117 h 2048168"/>
              <a:gd name="connsiteX3" fmla="*/ 1597003 w 1612337"/>
              <a:gd name="connsiteY3" fmla="*/ 0 h 2048168"/>
              <a:gd name="connsiteX0" fmla="*/ 1600839 w 1612337"/>
              <a:gd name="connsiteY0" fmla="*/ 0 h 2043403"/>
              <a:gd name="connsiteX1" fmla="*/ 0 w 1612337"/>
              <a:gd name="connsiteY1" fmla="*/ 2043403 h 2043403"/>
              <a:gd name="connsiteX2" fmla="*/ 1612337 w 1612337"/>
              <a:gd name="connsiteY2" fmla="*/ 913352 h 2043403"/>
              <a:gd name="connsiteX3" fmla="*/ 1600839 w 1612337"/>
              <a:gd name="connsiteY3" fmla="*/ 0 h 2043403"/>
              <a:gd name="connsiteX0" fmla="*/ 1600839 w 1612337"/>
              <a:gd name="connsiteY0" fmla="*/ 0 h 2043403"/>
              <a:gd name="connsiteX1" fmla="*/ 0 w 1612337"/>
              <a:gd name="connsiteY1" fmla="*/ 2043403 h 2043403"/>
              <a:gd name="connsiteX2" fmla="*/ 1612337 w 1612337"/>
              <a:gd name="connsiteY2" fmla="*/ 915735 h 2043403"/>
              <a:gd name="connsiteX3" fmla="*/ 1600839 w 1612337"/>
              <a:gd name="connsiteY3" fmla="*/ 0 h 2043403"/>
              <a:gd name="connsiteX0" fmla="*/ 1598829 w 1610327"/>
              <a:gd name="connsiteY0" fmla="*/ 0 h 2068370"/>
              <a:gd name="connsiteX1" fmla="*/ 0 w 1610327"/>
              <a:gd name="connsiteY1" fmla="*/ 2068370 h 2068370"/>
              <a:gd name="connsiteX2" fmla="*/ 1610327 w 1610327"/>
              <a:gd name="connsiteY2" fmla="*/ 915735 h 2068370"/>
              <a:gd name="connsiteX3" fmla="*/ 1598829 w 1610327"/>
              <a:gd name="connsiteY3" fmla="*/ 0 h 2068370"/>
              <a:gd name="connsiteX0" fmla="*/ 1606584 w 1610327"/>
              <a:gd name="connsiteY0" fmla="*/ 0 h 2068370"/>
              <a:gd name="connsiteX1" fmla="*/ 0 w 1610327"/>
              <a:gd name="connsiteY1" fmla="*/ 2068370 h 2068370"/>
              <a:gd name="connsiteX2" fmla="*/ 1610327 w 1610327"/>
              <a:gd name="connsiteY2" fmla="*/ 915735 h 2068370"/>
              <a:gd name="connsiteX3" fmla="*/ 1606584 w 1610327"/>
              <a:gd name="connsiteY3" fmla="*/ 0 h 2068370"/>
            </a:gdLst>
            <a:ahLst/>
            <a:cxnLst>
              <a:cxn ang="0">
                <a:pos x="connsiteX0" y="connsiteY0"/>
              </a:cxn>
              <a:cxn ang="0">
                <a:pos x="connsiteX1" y="connsiteY1"/>
              </a:cxn>
              <a:cxn ang="0">
                <a:pos x="connsiteX2" y="connsiteY2"/>
              </a:cxn>
              <a:cxn ang="0">
                <a:pos x="connsiteX3" y="connsiteY3"/>
              </a:cxn>
            </a:cxnLst>
            <a:rect l="l" t="t" r="r" b="b"/>
            <a:pathLst>
              <a:path w="1610327" h="2068370">
                <a:moveTo>
                  <a:pt x="1606584" y="0"/>
                </a:moveTo>
                <a:lnTo>
                  <a:pt x="0" y="2068370"/>
                </a:lnTo>
                <a:lnTo>
                  <a:pt x="1610327" y="915735"/>
                </a:lnTo>
                <a:cubicBezTo>
                  <a:pt x="1608043" y="625618"/>
                  <a:pt x="1608868" y="290117"/>
                  <a:pt x="1606584" y="0"/>
                </a:cubicBezTo>
                <a:close/>
              </a:path>
            </a:pathLst>
          </a:custGeom>
          <a:gradFill>
            <a:gsLst>
              <a:gs pos="0">
                <a:srgbClr val="A0A5AA">
                  <a:lumMod val="85000"/>
                </a:srgbClr>
              </a:gs>
              <a:gs pos="100000">
                <a:srgbClr val="A0A5AA"/>
              </a:gs>
            </a:gsLst>
            <a:lin ang="19800000" scaled="0"/>
          </a:gra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ea typeface="+mn-ea"/>
              <a:cs typeface="+mn-cs"/>
            </a:endParaRPr>
          </a:p>
        </p:txBody>
      </p:sp>
      <p:sp>
        <p:nvSpPr>
          <p:cNvPr id="39" name="Freeform 59">
            <a:extLst>
              <a:ext uri="{FF2B5EF4-FFF2-40B4-BE49-F238E27FC236}">
                <a16:creationId xmlns:a16="http://schemas.microsoft.com/office/drawing/2014/main" id="{E3A0AD07-2BDC-4D9B-8F92-4C0CE9E83A4B}"/>
              </a:ext>
            </a:extLst>
          </p:cNvPr>
          <p:cNvSpPr/>
          <p:nvPr/>
        </p:nvSpPr>
        <p:spPr>
          <a:xfrm flipV="1">
            <a:off x="2707979" y="3936415"/>
            <a:ext cx="2047004" cy="1029679"/>
          </a:xfrm>
          <a:custGeom>
            <a:avLst/>
            <a:gdLst>
              <a:gd name="connsiteX0" fmla="*/ 1621972 w 1621972"/>
              <a:gd name="connsiteY0" fmla="*/ 0 h 925286"/>
              <a:gd name="connsiteX1" fmla="*/ 0 w 1621972"/>
              <a:gd name="connsiteY1" fmla="*/ 925286 h 925286"/>
              <a:gd name="connsiteX2" fmla="*/ 1621972 w 1621972"/>
              <a:gd name="connsiteY2" fmla="*/ 849086 h 925286"/>
              <a:gd name="connsiteX3" fmla="*/ 1621972 w 1621972"/>
              <a:gd name="connsiteY3" fmla="*/ 0 h 925286"/>
              <a:gd name="connsiteX0" fmla="*/ 1632858 w 1632858"/>
              <a:gd name="connsiteY0" fmla="*/ 0 h 957943"/>
              <a:gd name="connsiteX1" fmla="*/ 0 w 1632858"/>
              <a:gd name="connsiteY1" fmla="*/ 957943 h 957943"/>
              <a:gd name="connsiteX2" fmla="*/ 1621972 w 1632858"/>
              <a:gd name="connsiteY2" fmla="*/ 881743 h 957943"/>
              <a:gd name="connsiteX3" fmla="*/ 1632858 w 1632858"/>
              <a:gd name="connsiteY3" fmla="*/ 0 h 957943"/>
              <a:gd name="connsiteX0" fmla="*/ 1632858 w 1654629"/>
              <a:gd name="connsiteY0" fmla="*/ 0 h 957943"/>
              <a:gd name="connsiteX1" fmla="*/ 0 w 1654629"/>
              <a:gd name="connsiteY1" fmla="*/ 957943 h 957943"/>
              <a:gd name="connsiteX2" fmla="*/ 1654629 w 1654629"/>
              <a:gd name="connsiteY2" fmla="*/ 903515 h 957943"/>
              <a:gd name="connsiteX3" fmla="*/ 1632858 w 1654629"/>
              <a:gd name="connsiteY3" fmla="*/ 0 h 957943"/>
              <a:gd name="connsiteX0" fmla="*/ 1643743 w 1654629"/>
              <a:gd name="connsiteY0" fmla="*/ 0 h 979714"/>
              <a:gd name="connsiteX1" fmla="*/ 0 w 1654629"/>
              <a:gd name="connsiteY1" fmla="*/ 979714 h 979714"/>
              <a:gd name="connsiteX2" fmla="*/ 1654629 w 1654629"/>
              <a:gd name="connsiteY2" fmla="*/ 925286 h 979714"/>
              <a:gd name="connsiteX3" fmla="*/ 1643743 w 1654629"/>
              <a:gd name="connsiteY3" fmla="*/ 0 h 979714"/>
              <a:gd name="connsiteX0" fmla="*/ 1630212 w 1654629"/>
              <a:gd name="connsiteY0" fmla="*/ 0 h 947057"/>
              <a:gd name="connsiteX1" fmla="*/ 0 w 1654629"/>
              <a:gd name="connsiteY1" fmla="*/ 947057 h 947057"/>
              <a:gd name="connsiteX2" fmla="*/ 1654629 w 1654629"/>
              <a:gd name="connsiteY2" fmla="*/ 892629 h 947057"/>
              <a:gd name="connsiteX3" fmla="*/ 1630212 w 1654629"/>
              <a:gd name="connsiteY3" fmla="*/ 0 h 947057"/>
              <a:gd name="connsiteX0" fmla="*/ 1657273 w 1657273"/>
              <a:gd name="connsiteY0" fmla="*/ 0 h 968828"/>
              <a:gd name="connsiteX1" fmla="*/ 0 w 1657273"/>
              <a:gd name="connsiteY1" fmla="*/ 968828 h 968828"/>
              <a:gd name="connsiteX2" fmla="*/ 1654629 w 1657273"/>
              <a:gd name="connsiteY2" fmla="*/ 914400 h 968828"/>
              <a:gd name="connsiteX3" fmla="*/ 1657273 w 1657273"/>
              <a:gd name="connsiteY3" fmla="*/ 0 h 968828"/>
              <a:gd name="connsiteX0" fmla="*/ 1684334 w 1684334"/>
              <a:gd name="connsiteY0" fmla="*/ 0 h 990599"/>
              <a:gd name="connsiteX1" fmla="*/ 0 w 1684334"/>
              <a:gd name="connsiteY1" fmla="*/ 990599 h 990599"/>
              <a:gd name="connsiteX2" fmla="*/ 1654629 w 1684334"/>
              <a:gd name="connsiteY2" fmla="*/ 936171 h 990599"/>
              <a:gd name="connsiteX3" fmla="*/ 1684334 w 1684334"/>
              <a:gd name="connsiteY3" fmla="*/ 0 h 990599"/>
              <a:gd name="connsiteX0" fmla="*/ 1589618 w 1654636"/>
              <a:gd name="connsiteY0" fmla="*/ 0 h 947056"/>
              <a:gd name="connsiteX1" fmla="*/ 0 w 1654636"/>
              <a:gd name="connsiteY1" fmla="*/ 947056 h 947056"/>
              <a:gd name="connsiteX2" fmla="*/ 1654629 w 1654636"/>
              <a:gd name="connsiteY2" fmla="*/ 892628 h 947056"/>
              <a:gd name="connsiteX3" fmla="*/ 1589618 w 1654636"/>
              <a:gd name="connsiteY3" fmla="*/ 0 h 947056"/>
              <a:gd name="connsiteX0" fmla="*/ 1603149 w 1654638"/>
              <a:gd name="connsiteY0" fmla="*/ 0 h 979713"/>
              <a:gd name="connsiteX1" fmla="*/ 0 w 1654638"/>
              <a:gd name="connsiteY1" fmla="*/ 979713 h 979713"/>
              <a:gd name="connsiteX2" fmla="*/ 1654629 w 1654638"/>
              <a:gd name="connsiteY2" fmla="*/ 925285 h 979713"/>
              <a:gd name="connsiteX3" fmla="*/ 1603149 w 1654638"/>
              <a:gd name="connsiteY3" fmla="*/ 0 h 979713"/>
              <a:gd name="connsiteX0" fmla="*/ 1603149 w 1627589"/>
              <a:gd name="connsiteY0" fmla="*/ 0 h 979713"/>
              <a:gd name="connsiteX1" fmla="*/ 0 w 1627589"/>
              <a:gd name="connsiteY1" fmla="*/ 979713 h 979713"/>
              <a:gd name="connsiteX2" fmla="*/ 1627568 w 1627589"/>
              <a:gd name="connsiteY2" fmla="*/ 914399 h 979713"/>
              <a:gd name="connsiteX3" fmla="*/ 1603149 w 1627589"/>
              <a:gd name="connsiteY3" fmla="*/ 0 h 979713"/>
              <a:gd name="connsiteX0" fmla="*/ 1603149 w 1606525"/>
              <a:gd name="connsiteY0" fmla="*/ 0 h 979713"/>
              <a:gd name="connsiteX1" fmla="*/ 0 w 1606525"/>
              <a:gd name="connsiteY1" fmla="*/ 979713 h 979713"/>
              <a:gd name="connsiteX2" fmla="*/ 1606422 w 1606525"/>
              <a:gd name="connsiteY2" fmla="*/ 910146 h 979713"/>
              <a:gd name="connsiteX3" fmla="*/ 1603149 w 1606525"/>
              <a:gd name="connsiteY3" fmla="*/ 0 h 979713"/>
              <a:gd name="connsiteX0" fmla="*/ 1603149 w 1603149"/>
              <a:gd name="connsiteY0" fmla="*/ 0 h 979713"/>
              <a:gd name="connsiteX1" fmla="*/ 0 w 1603149"/>
              <a:gd name="connsiteY1" fmla="*/ 979713 h 979713"/>
              <a:gd name="connsiteX2" fmla="*/ 1601135 w 1603149"/>
              <a:gd name="connsiteY2" fmla="*/ 914399 h 979713"/>
              <a:gd name="connsiteX3" fmla="*/ 1603149 w 1603149"/>
              <a:gd name="connsiteY3" fmla="*/ 0 h 979713"/>
              <a:gd name="connsiteX0" fmla="*/ 1608435 w 1608435"/>
              <a:gd name="connsiteY0" fmla="*/ 0 h 988219"/>
              <a:gd name="connsiteX1" fmla="*/ 0 w 1608435"/>
              <a:gd name="connsiteY1" fmla="*/ 988219 h 988219"/>
              <a:gd name="connsiteX2" fmla="*/ 1601135 w 1608435"/>
              <a:gd name="connsiteY2" fmla="*/ 922905 h 988219"/>
              <a:gd name="connsiteX3" fmla="*/ 1608435 w 1608435"/>
              <a:gd name="connsiteY3" fmla="*/ 0 h 988219"/>
              <a:gd name="connsiteX0" fmla="*/ 1591471 w 1601183"/>
              <a:gd name="connsiteY0" fmla="*/ 0 h 991631"/>
              <a:gd name="connsiteX1" fmla="*/ 0 w 1601183"/>
              <a:gd name="connsiteY1" fmla="*/ 991631 h 991631"/>
              <a:gd name="connsiteX2" fmla="*/ 1601135 w 1601183"/>
              <a:gd name="connsiteY2" fmla="*/ 926317 h 991631"/>
              <a:gd name="connsiteX3" fmla="*/ 1591471 w 1601183"/>
              <a:gd name="connsiteY3" fmla="*/ 0 h 991631"/>
              <a:gd name="connsiteX0" fmla="*/ 1587230 w 1601171"/>
              <a:gd name="connsiteY0" fmla="*/ 0 h 991631"/>
              <a:gd name="connsiteX1" fmla="*/ 0 w 1601171"/>
              <a:gd name="connsiteY1" fmla="*/ 991631 h 991631"/>
              <a:gd name="connsiteX2" fmla="*/ 1601135 w 1601171"/>
              <a:gd name="connsiteY2" fmla="*/ 926317 h 991631"/>
              <a:gd name="connsiteX3" fmla="*/ 1587230 w 1601171"/>
              <a:gd name="connsiteY3" fmla="*/ 0 h 991631"/>
              <a:gd name="connsiteX0" fmla="*/ 1587230 w 1601170"/>
              <a:gd name="connsiteY0" fmla="*/ 0 h 988219"/>
              <a:gd name="connsiteX1" fmla="*/ 0 w 1601170"/>
              <a:gd name="connsiteY1" fmla="*/ 988219 h 988219"/>
              <a:gd name="connsiteX2" fmla="*/ 1601135 w 1601170"/>
              <a:gd name="connsiteY2" fmla="*/ 922905 h 988219"/>
              <a:gd name="connsiteX3" fmla="*/ 1587230 w 1601170"/>
              <a:gd name="connsiteY3" fmla="*/ 0 h 988219"/>
              <a:gd name="connsiteX0" fmla="*/ 1587230 w 1601170"/>
              <a:gd name="connsiteY0" fmla="*/ 0 h 991631"/>
              <a:gd name="connsiteX1" fmla="*/ 0 w 1601170"/>
              <a:gd name="connsiteY1" fmla="*/ 991631 h 991631"/>
              <a:gd name="connsiteX2" fmla="*/ 1601135 w 1601170"/>
              <a:gd name="connsiteY2" fmla="*/ 926317 h 991631"/>
              <a:gd name="connsiteX3" fmla="*/ 1587230 w 1601170"/>
              <a:gd name="connsiteY3" fmla="*/ 0 h 991631"/>
              <a:gd name="connsiteX0" fmla="*/ 1589240 w 1603180"/>
              <a:gd name="connsiteY0" fmla="*/ 0 h 949187"/>
              <a:gd name="connsiteX1" fmla="*/ 0 w 1603180"/>
              <a:gd name="connsiteY1" fmla="*/ 949187 h 949187"/>
              <a:gd name="connsiteX2" fmla="*/ 1603145 w 1603180"/>
              <a:gd name="connsiteY2" fmla="*/ 926317 h 949187"/>
              <a:gd name="connsiteX3" fmla="*/ 1589240 w 1603180"/>
              <a:gd name="connsiteY3" fmla="*/ 0 h 949187"/>
              <a:gd name="connsiteX0" fmla="*/ 1589240 w 1603180"/>
              <a:gd name="connsiteY0" fmla="*/ 0 h 954181"/>
              <a:gd name="connsiteX1" fmla="*/ 0 w 1603180"/>
              <a:gd name="connsiteY1" fmla="*/ 954181 h 954181"/>
              <a:gd name="connsiteX2" fmla="*/ 1603145 w 1603180"/>
              <a:gd name="connsiteY2" fmla="*/ 926317 h 954181"/>
              <a:gd name="connsiteX3" fmla="*/ 1589240 w 1603180"/>
              <a:gd name="connsiteY3" fmla="*/ 0 h 954181"/>
              <a:gd name="connsiteX0" fmla="*/ 1591249 w 1605189"/>
              <a:gd name="connsiteY0" fmla="*/ 0 h 956677"/>
              <a:gd name="connsiteX1" fmla="*/ 0 w 1605189"/>
              <a:gd name="connsiteY1" fmla="*/ 956677 h 956677"/>
              <a:gd name="connsiteX2" fmla="*/ 1605154 w 1605189"/>
              <a:gd name="connsiteY2" fmla="*/ 926317 h 956677"/>
              <a:gd name="connsiteX3" fmla="*/ 1591249 w 1605189"/>
              <a:gd name="connsiteY3" fmla="*/ 0 h 956677"/>
              <a:gd name="connsiteX0" fmla="*/ 1591249 w 1601181"/>
              <a:gd name="connsiteY0" fmla="*/ 0 h 956677"/>
              <a:gd name="connsiteX1" fmla="*/ 0 w 1601181"/>
              <a:gd name="connsiteY1" fmla="*/ 956677 h 956677"/>
              <a:gd name="connsiteX2" fmla="*/ 1601134 w 1601181"/>
              <a:gd name="connsiteY2" fmla="*/ 892812 h 956677"/>
              <a:gd name="connsiteX3" fmla="*/ 1591249 w 1601181"/>
              <a:gd name="connsiteY3" fmla="*/ 0 h 956677"/>
              <a:gd name="connsiteX0" fmla="*/ 1591249 w 1607194"/>
              <a:gd name="connsiteY0" fmla="*/ 0 h 956677"/>
              <a:gd name="connsiteX1" fmla="*/ 0 w 1607194"/>
              <a:gd name="connsiteY1" fmla="*/ 956677 h 956677"/>
              <a:gd name="connsiteX2" fmla="*/ 1607163 w 1607194"/>
              <a:gd name="connsiteY2" fmla="*/ 892812 h 956677"/>
              <a:gd name="connsiteX3" fmla="*/ 1591249 w 1607194"/>
              <a:gd name="connsiteY3" fmla="*/ 0 h 956677"/>
              <a:gd name="connsiteX0" fmla="*/ 1591249 w 1603184"/>
              <a:gd name="connsiteY0" fmla="*/ 0 h 956677"/>
              <a:gd name="connsiteX1" fmla="*/ 0 w 1603184"/>
              <a:gd name="connsiteY1" fmla="*/ 956677 h 956677"/>
              <a:gd name="connsiteX2" fmla="*/ 1603144 w 1603184"/>
              <a:gd name="connsiteY2" fmla="*/ 890420 h 956677"/>
              <a:gd name="connsiteX3" fmla="*/ 1591249 w 1603184"/>
              <a:gd name="connsiteY3" fmla="*/ 0 h 956677"/>
              <a:gd name="connsiteX0" fmla="*/ 1591249 w 1601181"/>
              <a:gd name="connsiteY0" fmla="*/ 0 h 956677"/>
              <a:gd name="connsiteX1" fmla="*/ 0 w 1601181"/>
              <a:gd name="connsiteY1" fmla="*/ 956677 h 956677"/>
              <a:gd name="connsiteX2" fmla="*/ 1601134 w 1601181"/>
              <a:gd name="connsiteY2" fmla="*/ 890420 h 956677"/>
              <a:gd name="connsiteX3" fmla="*/ 1591249 w 1601181"/>
              <a:gd name="connsiteY3" fmla="*/ 0 h 956677"/>
              <a:gd name="connsiteX0" fmla="*/ 1591249 w 1597184"/>
              <a:gd name="connsiteY0" fmla="*/ 0 h 956677"/>
              <a:gd name="connsiteX1" fmla="*/ 0 w 1597184"/>
              <a:gd name="connsiteY1" fmla="*/ 956677 h 956677"/>
              <a:gd name="connsiteX2" fmla="*/ 1597114 w 1597184"/>
              <a:gd name="connsiteY2" fmla="*/ 890420 h 956677"/>
              <a:gd name="connsiteX3" fmla="*/ 1591249 w 1597184"/>
              <a:gd name="connsiteY3" fmla="*/ 0 h 956677"/>
              <a:gd name="connsiteX0" fmla="*/ 1593652 w 1597214"/>
              <a:gd name="connsiteY0" fmla="*/ 0 h 956677"/>
              <a:gd name="connsiteX1" fmla="*/ 0 w 1597214"/>
              <a:gd name="connsiteY1" fmla="*/ 956677 h 956677"/>
              <a:gd name="connsiteX2" fmla="*/ 1597114 w 1597214"/>
              <a:gd name="connsiteY2" fmla="*/ 890420 h 956677"/>
              <a:gd name="connsiteX3" fmla="*/ 1593652 w 1597214"/>
              <a:gd name="connsiteY3" fmla="*/ 0 h 956677"/>
            </a:gdLst>
            <a:ahLst/>
            <a:cxnLst>
              <a:cxn ang="0">
                <a:pos x="connsiteX0" y="connsiteY0"/>
              </a:cxn>
              <a:cxn ang="0">
                <a:pos x="connsiteX1" y="connsiteY1"/>
              </a:cxn>
              <a:cxn ang="0">
                <a:pos x="connsiteX2" y="connsiteY2"/>
              </a:cxn>
              <a:cxn ang="0">
                <a:pos x="connsiteX3" y="connsiteY3"/>
              </a:cxn>
            </a:cxnLst>
            <a:rect l="l" t="t" r="r" b="b"/>
            <a:pathLst>
              <a:path w="1597214" h="956677">
                <a:moveTo>
                  <a:pt x="1593652" y="0"/>
                </a:moveTo>
                <a:lnTo>
                  <a:pt x="0" y="956677"/>
                </a:lnTo>
                <a:lnTo>
                  <a:pt x="1597114" y="890420"/>
                </a:lnTo>
                <a:cubicBezTo>
                  <a:pt x="1597995" y="585620"/>
                  <a:pt x="1592771" y="304800"/>
                  <a:pt x="1593652" y="0"/>
                </a:cubicBezTo>
                <a:close/>
              </a:path>
            </a:pathLst>
          </a:custGeom>
          <a:gradFill>
            <a:gsLst>
              <a:gs pos="0">
                <a:srgbClr val="E7E5E6">
                  <a:lumMod val="85000"/>
                </a:srgbClr>
              </a:gs>
              <a:gs pos="100000">
                <a:srgbClr val="E7E5E6"/>
              </a:gs>
            </a:gsLst>
            <a:lin ang="19800000" scaled="0"/>
          </a:gra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mn-ea"/>
              <a:cs typeface="+mn-cs"/>
            </a:endParaRPr>
          </a:p>
        </p:txBody>
      </p:sp>
      <p:sp>
        <p:nvSpPr>
          <p:cNvPr id="40" name="Freeform 60">
            <a:extLst>
              <a:ext uri="{FF2B5EF4-FFF2-40B4-BE49-F238E27FC236}">
                <a16:creationId xmlns:a16="http://schemas.microsoft.com/office/drawing/2014/main" id="{41268176-57F1-4764-AC51-DBD0B731084A}"/>
              </a:ext>
            </a:extLst>
          </p:cNvPr>
          <p:cNvSpPr/>
          <p:nvPr/>
        </p:nvSpPr>
        <p:spPr>
          <a:xfrm flipV="1">
            <a:off x="2706092" y="3936417"/>
            <a:ext cx="2058102" cy="2132109"/>
          </a:xfrm>
          <a:custGeom>
            <a:avLst/>
            <a:gdLst>
              <a:gd name="connsiteX0" fmla="*/ 1621972 w 1621972"/>
              <a:gd name="connsiteY0" fmla="*/ 0 h 2035628"/>
              <a:gd name="connsiteX1" fmla="*/ 0 w 1621972"/>
              <a:gd name="connsiteY1" fmla="*/ 2035628 h 2035628"/>
              <a:gd name="connsiteX2" fmla="*/ 1621972 w 1621972"/>
              <a:gd name="connsiteY2" fmla="*/ 892628 h 2035628"/>
              <a:gd name="connsiteX3" fmla="*/ 1621972 w 1621972"/>
              <a:gd name="connsiteY3" fmla="*/ 0 h 2035628"/>
              <a:gd name="connsiteX0" fmla="*/ 1621972 w 1654629"/>
              <a:gd name="connsiteY0" fmla="*/ 0 h 2035628"/>
              <a:gd name="connsiteX1" fmla="*/ 0 w 1654629"/>
              <a:gd name="connsiteY1" fmla="*/ 2035628 h 2035628"/>
              <a:gd name="connsiteX2" fmla="*/ 1654629 w 1654629"/>
              <a:gd name="connsiteY2" fmla="*/ 881742 h 2035628"/>
              <a:gd name="connsiteX3" fmla="*/ 1621972 w 1654629"/>
              <a:gd name="connsiteY3" fmla="*/ 0 h 2035628"/>
              <a:gd name="connsiteX0" fmla="*/ 1635503 w 1654629"/>
              <a:gd name="connsiteY0" fmla="*/ 0 h 2013857"/>
              <a:gd name="connsiteX1" fmla="*/ 0 w 1654629"/>
              <a:gd name="connsiteY1" fmla="*/ 2013857 h 2013857"/>
              <a:gd name="connsiteX2" fmla="*/ 1654629 w 1654629"/>
              <a:gd name="connsiteY2" fmla="*/ 859971 h 2013857"/>
              <a:gd name="connsiteX3" fmla="*/ 1635503 w 1654629"/>
              <a:gd name="connsiteY3" fmla="*/ 0 h 2013857"/>
              <a:gd name="connsiteX0" fmla="*/ 1594911 w 1654629"/>
              <a:gd name="connsiteY0" fmla="*/ 0 h 2002971"/>
              <a:gd name="connsiteX1" fmla="*/ 0 w 1654629"/>
              <a:gd name="connsiteY1" fmla="*/ 2002971 h 2002971"/>
              <a:gd name="connsiteX2" fmla="*/ 1654629 w 1654629"/>
              <a:gd name="connsiteY2" fmla="*/ 849085 h 2002971"/>
              <a:gd name="connsiteX3" fmla="*/ 1594911 w 1654629"/>
              <a:gd name="connsiteY3" fmla="*/ 0 h 2002971"/>
              <a:gd name="connsiteX0" fmla="*/ 1594911 w 1617624"/>
              <a:gd name="connsiteY0" fmla="*/ 0 h 2002971"/>
              <a:gd name="connsiteX1" fmla="*/ 0 w 1617624"/>
              <a:gd name="connsiteY1" fmla="*/ 2002971 h 2002971"/>
              <a:gd name="connsiteX2" fmla="*/ 1617624 w 1617624"/>
              <a:gd name="connsiteY2" fmla="*/ 870350 h 2002971"/>
              <a:gd name="connsiteX3" fmla="*/ 1594911 w 1617624"/>
              <a:gd name="connsiteY3" fmla="*/ 0 h 2002971"/>
              <a:gd name="connsiteX0" fmla="*/ 1594911 w 1596478"/>
              <a:gd name="connsiteY0" fmla="*/ 0 h 2002971"/>
              <a:gd name="connsiteX1" fmla="*/ 0 w 1596478"/>
              <a:gd name="connsiteY1" fmla="*/ 2002971 h 2002971"/>
              <a:gd name="connsiteX2" fmla="*/ 1596478 w 1596478"/>
              <a:gd name="connsiteY2" fmla="*/ 883110 h 2002971"/>
              <a:gd name="connsiteX3" fmla="*/ 1594911 w 1596478"/>
              <a:gd name="connsiteY3" fmla="*/ 0 h 2002971"/>
              <a:gd name="connsiteX0" fmla="*/ 1605483 w 1605502"/>
              <a:gd name="connsiteY0" fmla="*/ 0 h 2015730"/>
              <a:gd name="connsiteX1" fmla="*/ 0 w 1605502"/>
              <a:gd name="connsiteY1" fmla="*/ 2015730 h 2015730"/>
              <a:gd name="connsiteX2" fmla="*/ 1596478 w 1605502"/>
              <a:gd name="connsiteY2" fmla="*/ 895869 h 2015730"/>
              <a:gd name="connsiteX3" fmla="*/ 1605483 w 1605502"/>
              <a:gd name="connsiteY3" fmla="*/ 0 h 2015730"/>
              <a:gd name="connsiteX0" fmla="*/ 1605483 w 1605502"/>
              <a:gd name="connsiteY0" fmla="*/ 0 h 2032742"/>
              <a:gd name="connsiteX1" fmla="*/ 0 w 1605502"/>
              <a:gd name="connsiteY1" fmla="*/ 2032742 h 2032742"/>
              <a:gd name="connsiteX2" fmla="*/ 1596478 w 1605502"/>
              <a:gd name="connsiteY2" fmla="*/ 912881 h 2032742"/>
              <a:gd name="connsiteX3" fmla="*/ 1605483 w 1605502"/>
              <a:gd name="connsiteY3" fmla="*/ 0 h 2032742"/>
              <a:gd name="connsiteX0" fmla="*/ 1592760 w 1596478"/>
              <a:gd name="connsiteY0" fmla="*/ 0 h 2060037"/>
              <a:gd name="connsiteX1" fmla="*/ 0 w 1596478"/>
              <a:gd name="connsiteY1" fmla="*/ 2060037 h 2060037"/>
              <a:gd name="connsiteX2" fmla="*/ 1596478 w 1596478"/>
              <a:gd name="connsiteY2" fmla="*/ 940176 h 2060037"/>
              <a:gd name="connsiteX3" fmla="*/ 1592760 w 1596478"/>
              <a:gd name="connsiteY3" fmla="*/ 0 h 2060037"/>
              <a:gd name="connsiteX0" fmla="*/ 1592760 w 1596478"/>
              <a:gd name="connsiteY0" fmla="*/ 0 h 2042978"/>
              <a:gd name="connsiteX1" fmla="*/ 0 w 1596478"/>
              <a:gd name="connsiteY1" fmla="*/ 2042978 h 2042978"/>
              <a:gd name="connsiteX2" fmla="*/ 1596478 w 1596478"/>
              <a:gd name="connsiteY2" fmla="*/ 923117 h 2042978"/>
              <a:gd name="connsiteX3" fmla="*/ 1592760 w 1596478"/>
              <a:gd name="connsiteY3" fmla="*/ 0 h 2042978"/>
              <a:gd name="connsiteX0" fmla="*/ 1592760 w 1596478"/>
              <a:gd name="connsiteY0" fmla="*/ 0 h 2053214"/>
              <a:gd name="connsiteX1" fmla="*/ 0 w 1596478"/>
              <a:gd name="connsiteY1" fmla="*/ 2053214 h 2053214"/>
              <a:gd name="connsiteX2" fmla="*/ 1596478 w 1596478"/>
              <a:gd name="connsiteY2" fmla="*/ 933353 h 2053214"/>
              <a:gd name="connsiteX3" fmla="*/ 1592760 w 1596478"/>
              <a:gd name="connsiteY3" fmla="*/ 0 h 2053214"/>
              <a:gd name="connsiteX0" fmla="*/ 1614004 w 1614014"/>
              <a:gd name="connsiteY0" fmla="*/ 0 h 2053214"/>
              <a:gd name="connsiteX1" fmla="*/ 0 w 1614014"/>
              <a:gd name="connsiteY1" fmla="*/ 2053214 h 2053214"/>
              <a:gd name="connsiteX2" fmla="*/ 1596478 w 1614014"/>
              <a:gd name="connsiteY2" fmla="*/ 933353 h 2053214"/>
              <a:gd name="connsiteX3" fmla="*/ 1614004 w 1614014"/>
              <a:gd name="connsiteY3" fmla="*/ 0 h 2053214"/>
              <a:gd name="connsiteX0" fmla="*/ 1599936 w 1599946"/>
              <a:gd name="connsiteY0" fmla="*/ 0 h 2015763"/>
              <a:gd name="connsiteX1" fmla="*/ 0 w 1599946"/>
              <a:gd name="connsiteY1" fmla="*/ 2015763 h 2015763"/>
              <a:gd name="connsiteX2" fmla="*/ 1582410 w 1599946"/>
              <a:gd name="connsiteY2" fmla="*/ 933353 h 2015763"/>
              <a:gd name="connsiteX3" fmla="*/ 1599936 w 1599946"/>
              <a:gd name="connsiteY3" fmla="*/ 0 h 2015763"/>
              <a:gd name="connsiteX0" fmla="*/ 1605965 w 1605975"/>
              <a:gd name="connsiteY0" fmla="*/ 0 h 2025750"/>
              <a:gd name="connsiteX1" fmla="*/ 0 w 1605975"/>
              <a:gd name="connsiteY1" fmla="*/ 2025750 h 2025750"/>
              <a:gd name="connsiteX2" fmla="*/ 1588439 w 1605975"/>
              <a:gd name="connsiteY2" fmla="*/ 933353 h 2025750"/>
              <a:gd name="connsiteX3" fmla="*/ 1605965 w 1605975"/>
              <a:gd name="connsiteY3" fmla="*/ 0 h 2025750"/>
              <a:gd name="connsiteX0" fmla="*/ 1605965 w 1605975"/>
              <a:gd name="connsiteY0" fmla="*/ 0 h 2018259"/>
              <a:gd name="connsiteX1" fmla="*/ 0 w 1605975"/>
              <a:gd name="connsiteY1" fmla="*/ 2018259 h 2018259"/>
              <a:gd name="connsiteX2" fmla="*/ 1588439 w 1605975"/>
              <a:gd name="connsiteY2" fmla="*/ 933353 h 2018259"/>
              <a:gd name="connsiteX3" fmla="*/ 1605965 w 1605975"/>
              <a:gd name="connsiteY3" fmla="*/ 0 h 2018259"/>
              <a:gd name="connsiteX0" fmla="*/ 1605965 w 1608648"/>
              <a:gd name="connsiteY0" fmla="*/ 0 h 2018259"/>
              <a:gd name="connsiteX1" fmla="*/ 0 w 1608648"/>
              <a:gd name="connsiteY1" fmla="*/ 2018259 h 2018259"/>
              <a:gd name="connsiteX2" fmla="*/ 1608648 w 1608648"/>
              <a:gd name="connsiteY2" fmla="*/ 896780 h 2018259"/>
              <a:gd name="connsiteX3" fmla="*/ 1605965 w 1608648"/>
              <a:gd name="connsiteY3" fmla="*/ 0 h 2018259"/>
              <a:gd name="connsiteX0" fmla="*/ 1605965 w 1614711"/>
              <a:gd name="connsiteY0" fmla="*/ 0 h 2018259"/>
              <a:gd name="connsiteX1" fmla="*/ 0 w 1614711"/>
              <a:gd name="connsiteY1" fmla="*/ 2018259 h 2018259"/>
              <a:gd name="connsiteX2" fmla="*/ 1614711 w 1614711"/>
              <a:gd name="connsiteY2" fmla="*/ 908971 h 2018259"/>
              <a:gd name="connsiteX3" fmla="*/ 1605965 w 1614711"/>
              <a:gd name="connsiteY3" fmla="*/ 0 h 2018259"/>
            </a:gdLst>
            <a:ahLst/>
            <a:cxnLst>
              <a:cxn ang="0">
                <a:pos x="connsiteX0" y="connsiteY0"/>
              </a:cxn>
              <a:cxn ang="0">
                <a:pos x="connsiteX1" y="connsiteY1"/>
              </a:cxn>
              <a:cxn ang="0">
                <a:pos x="connsiteX2" y="connsiteY2"/>
              </a:cxn>
              <a:cxn ang="0">
                <a:pos x="connsiteX3" y="connsiteY3"/>
              </a:cxn>
            </a:cxnLst>
            <a:rect l="l" t="t" r="r" b="b"/>
            <a:pathLst>
              <a:path w="1614711" h="2018259">
                <a:moveTo>
                  <a:pt x="1605965" y="0"/>
                </a:moveTo>
                <a:lnTo>
                  <a:pt x="0" y="2018259"/>
                </a:lnTo>
                <a:lnTo>
                  <a:pt x="1614711" y="908971"/>
                </a:lnTo>
                <a:cubicBezTo>
                  <a:pt x="1614189" y="614601"/>
                  <a:pt x="1606487" y="294370"/>
                  <a:pt x="1605965" y="0"/>
                </a:cubicBezTo>
                <a:close/>
              </a:path>
            </a:pathLst>
          </a:custGeom>
          <a:gradFill>
            <a:gsLst>
              <a:gs pos="0">
                <a:srgbClr val="F96302"/>
              </a:gs>
              <a:gs pos="100000">
                <a:srgbClr val="F27900"/>
              </a:gs>
            </a:gsLst>
            <a:lin ang="19800000" scaled="0"/>
          </a:gra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mn-ea"/>
              <a:cs typeface="+mn-cs"/>
            </a:endParaRPr>
          </a:p>
        </p:txBody>
      </p:sp>
      <p:grpSp>
        <p:nvGrpSpPr>
          <p:cNvPr id="41" name="Group 40">
            <a:extLst>
              <a:ext uri="{FF2B5EF4-FFF2-40B4-BE49-F238E27FC236}">
                <a16:creationId xmlns:a16="http://schemas.microsoft.com/office/drawing/2014/main" id="{101E8A5E-85DD-4E6E-8BF3-CB70346E318A}"/>
              </a:ext>
            </a:extLst>
          </p:cNvPr>
          <p:cNvGrpSpPr/>
          <p:nvPr/>
        </p:nvGrpSpPr>
        <p:grpSpPr>
          <a:xfrm>
            <a:off x="5934324" y="1833515"/>
            <a:ext cx="5245190" cy="707886"/>
            <a:chOff x="1353016" y="1766707"/>
            <a:chExt cx="4320480" cy="707886"/>
          </a:xfrm>
        </p:grpSpPr>
        <p:sp>
          <p:nvSpPr>
            <p:cNvPr id="42" name="TextBox 41">
              <a:extLst>
                <a:ext uri="{FF2B5EF4-FFF2-40B4-BE49-F238E27FC236}">
                  <a16:creationId xmlns:a16="http://schemas.microsoft.com/office/drawing/2014/main" id="{A33325CA-E601-4CDD-9DAE-11085B55191E}"/>
                </a:ext>
              </a:extLst>
            </p:cNvPr>
            <p:cNvSpPr txBox="1"/>
            <p:nvPr/>
          </p:nvSpPr>
          <p:spPr>
            <a:xfrm>
              <a:off x="1364065" y="2012928"/>
              <a:ext cx="42976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C1C1C"/>
                  </a:solidFill>
                  <a:effectLst/>
                  <a:uLnTx/>
                  <a:uFillTx/>
                  <a:latin typeface="Arial"/>
                  <a:ea typeface="+mn-ea"/>
                  <a:cs typeface="+mn-cs"/>
                </a:rPr>
                <a:t>Supporting our customers through Pro Direct Programs, an unlimited access to product and end-to-end business solutions</a:t>
              </a:r>
            </a:p>
          </p:txBody>
        </p:sp>
        <p:sp>
          <p:nvSpPr>
            <p:cNvPr id="43" name="TextBox 42">
              <a:extLst>
                <a:ext uri="{FF2B5EF4-FFF2-40B4-BE49-F238E27FC236}">
                  <a16:creationId xmlns:a16="http://schemas.microsoft.com/office/drawing/2014/main" id="{3AB0E521-EF57-4DB4-B9C3-5F8837AA6EBF}"/>
                </a:ext>
              </a:extLst>
            </p:cNvPr>
            <p:cNvSpPr txBox="1"/>
            <p:nvPr/>
          </p:nvSpPr>
          <p:spPr>
            <a:xfrm>
              <a:off x="1353016" y="1766707"/>
              <a:ext cx="4320480" cy="307777"/>
            </a:xfrm>
            <a:prstGeom prst="rect">
              <a:avLst/>
            </a:prstGeom>
            <a:noFill/>
          </p:spPr>
          <p:txBody>
            <a:bodyPr wrap="square" lIns="108000" rIns="108000"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1C1C1C">
                      <a:lumMod val="75000"/>
                      <a:lumOff val="25000"/>
                    </a:srgbClr>
                  </a:solidFill>
                  <a:effectLst/>
                  <a:uLnTx/>
                  <a:uFillTx/>
                  <a:latin typeface="Arial"/>
                  <a:ea typeface="+mn-ea"/>
                  <a:cs typeface="Arial" pitchFamily="34" charset="0"/>
                </a:rPr>
                <a:t>Home Depot Pro</a:t>
              </a:r>
              <a:endParaRPr kumimoji="0" lang="ko-KR" altLang="en-US" sz="1400" b="1" i="0" u="none" strike="noStrike" kern="1200" cap="none" spc="0" normalizeH="0" baseline="0" noProof="0" dirty="0">
                <a:ln>
                  <a:noFill/>
                </a:ln>
                <a:solidFill>
                  <a:srgbClr val="1C1C1C">
                    <a:lumMod val="75000"/>
                    <a:lumOff val="25000"/>
                  </a:srgbClr>
                </a:solidFill>
                <a:effectLst/>
                <a:uLnTx/>
                <a:uFillTx/>
                <a:latin typeface="Arial"/>
                <a:ea typeface="+mn-ea"/>
                <a:cs typeface="Arial" pitchFamily="34" charset="0"/>
              </a:endParaRPr>
            </a:p>
          </p:txBody>
        </p:sp>
      </p:grpSp>
      <p:grpSp>
        <p:nvGrpSpPr>
          <p:cNvPr id="44" name="Group 43">
            <a:extLst>
              <a:ext uri="{FF2B5EF4-FFF2-40B4-BE49-F238E27FC236}">
                <a16:creationId xmlns:a16="http://schemas.microsoft.com/office/drawing/2014/main" id="{767339C7-00DD-43E2-9934-ED77B8EB1A26}"/>
              </a:ext>
            </a:extLst>
          </p:cNvPr>
          <p:cNvGrpSpPr/>
          <p:nvPr/>
        </p:nvGrpSpPr>
        <p:grpSpPr>
          <a:xfrm>
            <a:off x="5920003" y="2900714"/>
            <a:ext cx="5258604" cy="1077218"/>
            <a:chOff x="1330171" y="1938862"/>
            <a:chExt cx="4331529" cy="1077218"/>
          </a:xfrm>
        </p:grpSpPr>
        <p:sp>
          <p:nvSpPr>
            <p:cNvPr id="45" name="TextBox 44">
              <a:extLst>
                <a:ext uri="{FF2B5EF4-FFF2-40B4-BE49-F238E27FC236}">
                  <a16:creationId xmlns:a16="http://schemas.microsoft.com/office/drawing/2014/main" id="{22D51900-593A-4FD5-8FE1-3C9C378CB7F7}"/>
                </a:ext>
              </a:extLst>
            </p:cNvPr>
            <p:cNvSpPr txBox="1"/>
            <p:nvPr/>
          </p:nvSpPr>
          <p:spPr>
            <a:xfrm>
              <a:off x="1364065" y="2012928"/>
              <a:ext cx="42976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C1C1C"/>
                  </a:solidFill>
                  <a:effectLst/>
                  <a:uLnTx/>
                  <a:uFillTx/>
                  <a:latin typeface="Arial"/>
                  <a:ea typeface="+mn-ea"/>
                  <a:cs typeface="+mn-cs"/>
                </a:rPr>
                <a:t> </a:t>
              </a:r>
            </a:p>
          </p:txBody>
        </p:sp>
        <p:sp>
          <p:nvSpPr>
            <p:cNvPr id="46" name="TextBox 45">
              <a:extLst>
                <a:ext uri="{FF2B5EF4-FFF2-40B4-BE49-F238E27FC236}">
                  <a16:creationId xmlns:a16="http://schemas.microsoft.com/office/drawing/2014/main" id="{4BC4CB20-B596-4FDC-AA75-D105AF772E5D}"/>
                </a:ext>
              </a:extLst>
            </p:cNvPr>
            <p:cNvSpPr txBox="1"/>
            <p:nvPr/>
          </p:nvSpPr>
          <p:spPr>
            <a:xfrm>
              <a:off x="1330171" y="1938862"/>
              <a:ext cx="4320480" cy="1077218"/>
            </a:xfrm>
            <a:prstGeom prst="rect">
              <a:avLst/>
            </a:prstGeom>
            <a:noFill/>
          </p:spPr>
          <p:txBody>
            <a:bodyPr wrap="square" lIns="108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C1C1C">
                      <a:lumMod val="75000"/>
                      <a:lumOff val="25000"/>
                    </a:srgbClr>
                  </a:solidFill>
                  <a:effectLst/>
                  <a:uLnTx/>
                  <a:uFillTx/>
                  <a:latin typeface="Arial"/>
                  <a:ea typeface="+mn-ea"/>
                  <a:cs typeface="+mn-cs"/>
                </a:rPr>
                <a:t>Save More on Every Job, Every 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66666"/>
                  </a:solidFill>
                  <a:effectLst/>
                  <a:uLnTx/>
                  <a:uFillTx/>
                  <a:latin typeface="Arial"/>
                  <a:ea typeface="+mn-ea"/>
                  <a:cs typeface="+mn-cs"/>
                </a:rPr>
                <a:t>With our Bulk Pricing program, you get the quantities you need at prices you can count on everyday. Get 10%-25% off of the building materials you need to complete your job.</a:t>
              </a:r>
            </a:p>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ko-KR" altLang="en-US" sz="1400" b="1" i="0" u="none" strike="noStrike" kern="1200" cap="none" spc="0" normalizeH="0" baseline="0" noProof="0" dirty="0">
                <a:ln>
                  <a:noFill/>
                </a:ln>
                <a:solidFill>
                  <a:srgbClr val="1C1C1C">
                    <a:lumMod val="75000"/>
                    <a:lumOff val="25000"/>
                  </a:srgbClr>
                </a:solidFill>
                <a:effectLst/>
                <a:uLnTx/>
                <a:uFillTx/>
                <a:latin typeface="Arial"/>
                <a:ea typeface="+mn-ea"/>
                <a:cs typeface="Arial" pitchFamily="34" charset="0"/>
              </a:endParaRPr>
            </a:p>
          </p:txBody>
        </p:sp>
      </p:grpSp>
      <p:grpSp>
        <p:nvGrpSpPr>
          <p:cNvPr id="47" name="Group 46">
            <a:extLst>
              <a:ext uri="{FF2B5EF4-FFF2-40B4-BE49-F238E27FC236}">
                <a16:creationId xmlns:a16="http://schemas.microsoft.com/office/drawing/2014/main" id="{C6D21361-712E-4171-BACC-6F1DF2F04725}"/>
              </a:ext>
            </a:extLst>
          </p:cNvPr>
          <p:cNvGrpSpPr/>
          <p:nvPr/>
        </p:nvGrpSpPr>
        <p:grpSpPr>
          <a:xfrm>
            <a:off x="6008808" y="3901762"/>
            <a:ext cx="5245190" cy="917110"/>
            <a:chOff x="1353016" y="1766707"/>
            <a:chExt cx="4320480" cy="917110"/>
          </a:xfrm>
        </p:grpSpPr>
        <p:sp>
          <p:nvSpPr>
            <p:cNvPr id="48" name="TextBox 47">
              <a:extLst>
                <a:ext uri="{FF2B5EF4-FFF2-40B4-BE49-F238E27FC236}">
                  <a16:creationId xmlns:a16="http://schemas.microsoft.com/office/drawing/2014/main" id="{5653EC89-74D4-421E-8D7C-49DF67200DC5}"/>
                </a:ext>
              </a:extLst>
            </p:cNvPr>
            <p:cNvSpPr txBox="1"/>
            <p:nvPr/>
          </p:nvSpPr>
          <p:spPr>
            <a:xfrm>
              <a:off x="1364065" y="2012928"/>
              <a:ext cx="4297635" cy="670889"/>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CA" sz="1200" b="0" i="0" u="none" strike="noStrike" kern="1200" cap="none" spc="0" normalizeH="0" baseline="0" noProof="0" dirty="0">
                  <a:ln>
                    <a:noFill/>
                  </a:ln>
                  <a:solidFill>
                    <a:srgbClr val="1C1C1C"/>
                  </a:solidFill>
                  <a:effectLst/>
                  <a:uLnTx/>
                  <a:uFillTx/>
                  <a:latin typeface="Arial" panose="020B0604020202020204" pitchFamily="34" charset="0"/>
                  <a:ea typeface="Calibri" panose="020F0502020204030204" pitchFamily="34" charset="0"/>
                  <a:cs typeface="Arial" panose="020B0604020202020204" pitchFamily="34" charset="0"/>
                </a:rPr>
                <a:t>Personal Home page that allows you to track spend up to 2 years , view recent orders , buy again feature , access to all shipping information for multiple sites and more. </a:t>
              </a:r>
            </a:p>
          </p:txBody>
        </p:sp>
        <p:sp>
          <p:nvSpPr>
            <p:cNvPr id="49" name="TextBox 48">
              <a:extLst>
                <a:ext uri="{FF2B5EF4-FFF2-40B4-BE49-F238E27FC236}">
                  <a16:creationId xmlns:a16="http://schemas.microsoft.com/office/drawing/2014/main" id="{4046D76F-C005-49D7-A01F-4D2CC6D4194A}"/>
                </a:ext>
              </a:extLst>
            </p:cNvPr>
            <p:cNvSpPr txBox="1"/>
            <p:nvPr/>
          </p:nvSpPr>
          <p:spPr>
            <a:xfrm>
              <a:off x="1353016" y="1766707"/>
              <a:ext cx="4320480" cy="307777"/>
            </a:xfrm>
            <a:prstGeom prst="rect">
              <a:avLst/>
            </a:prstGeom>
            <a:noFill/>
          </p:spPr>
          <p:txBody>
            <a:bodyPr wrap="square" lIns="108000" rIns="108000"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1C1C1C">
                      <a:lumMod val="75000"/>
                      <a:lumOff val="25000"/>
                    </a:srgbClr>
                  </a:solidFill>
                  <a:effectLst/>
                  <a:uLnTx/>
                  <a:uFillTx/>
                  <a:latin typeface="Arial"/>
                  <a:ea typeface="+mn-ea"/>
                  <a:cs typeface="Arial" pitchFamily="34" charset="0"/>
                </a:rPr>
                <a:t>B2B</a:t>
              </a:r>
              <a:endParaRPr kumimoji="0" lang="ko-KR" altLang="en-US" sz="1400" b="1" i="0" u="none" strike="noStrike" kern="1200" cap="none" spc="0" normalizeH="0" baseline="0" noProof="0" dirty="0">
                <a:ln>
                  <a:noFill/>
                </a:ln>
                <a:solidFill>
                  <a:srgbClr val="1C1C1C">
                    <a:lumMod val="75000"/>
                    <a:lumOff val="25000"/>
                  </a:srgbClr>
                </a:solidFill>
                <a:effectLst/>
                <a:uLnTx/>
                <a:uFillTx/>
                <a:latin typeface="Arial"/>
                <a:ea typeface="+mn-ea"/>
                <a:cs typeface="Arial" pitchFamily="34" charset="0"/>
              </a:endParaRPr>
            </a:p>
          </p:txBody>
        </p:sp>
      </p:grpSp>
      <p:grpSp>
        <p:nvGrpSpPr>
          <p:cNvPr id="50" name="Group 49">
            <a:extLst>
              <a:ext uri="{FF2B5EF4-FFF2-40B4-BE49-F238E27FC236}">
                <a16:creationId xmlns:a16="http://schemas.microsoft.com/office/drawing/2014/main" id="{418833C1-02FC-4763-879E-6A77E69EFB8D}"/>
              </a:ext>
            </a:extLst>
          </p:cNvPr>
          <p:cNvGrpSpPr/>
          <p:nvPr/>
        </p:nvGrpSpPr>
        <p:grpSpPr>
          <a:xfrm>
            <a:off x="5934324" y="4951748"/>
            <a:ext cx="5245190" cy="1324772"/>
            <a:chOff x="1369195" y="1601609"/>
            <a:chExt cx="4320480" cy="1324772"/>
          </a:xfrm>
        </p:grpSpPr>
        <p:sp>
          <p:nvSpPr>
            <p:cNvPr id="51" name="TextBox 50">
              <a:extLst>
                <a:ext uri="{FF2B5EF4-FFF2-40B4-BE49-F238E27FC236}">
                  <a16:creationId xmlns:a16="http://schemas.microsoft.com/office/drawing/2014/main" id="{6BE924B3-BC05-4BBA-A6AE-CEB5621B68F6}"/>
                </a:ext>
              </a:extLst>
            </p:cNvPr>
            <p:cNvSpPr txBox="1"/>
            <p:nvPr/>
          </p:nvSpPr>
          <p:spPr>
            <a:xfrm>
              <a:off x="1392040" y="1910718"/>
              <a:ext cx="4297635" cy="1015663"/>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A2A"/>
                  </a:solidFill>
                  <a:effectLst/>
                  <a:uLnTx/>
                  <a:uFillTx/>
                  <a:latin typeface="Arial" panose="020B0604020202020204" pitchFamily="34" charset="0"/>
                  <a:ea typeface="+mn-ea"/>
                  <a:cs typeface="Arial" panose="020B0604020202020204" pitchFamily="34" charset="0"/>
                </a:rPr>
                <a:t>Quarterly rewards  on Qualifying Purchases (issued quarterly).Upon registration to the Program, each  member will get a Pro Xtra ID and must use their Pro Xtra ID when shopping with The Home Depot to earn their Quarterly reward . Pay anyway Visa, AMEX,MC, Home Depot Credit , cash , cheque or debit </a:t>
              </a:r>
              <a:endParaRPr kumimoji="0" lang="en-US" altLang="ko-KR" sz="1200" b="0" i="0" u="none" strike="noStrike" kern="1200" cap="none" spc="0" normalizeH="0" baseline="0" noProof="0" dirty="0">
                <a:ln>
                  <a:noFill/>
                </a:ln>
                <a:solidFill>
                  <a:prstClr val="black">
                    <a:lumMod val="95000"/>
                    <a:lumOff val="5000"/>
                  </a:prstClr>
                </a:solidFill>
                <a:effectLst/>
                <a:uLnTx/>
                <a:uFillTx/>
                <a:latin typeface="Arial"/>
                <a:ea typeface="+mn-ea"/>
                <a:cs typeface="Arial" pitchFamily="34" charset="0"/>
              </a:endParaRPr>
            </a:p>
          </p:txBody>
        </p:sp>
        <p:sp>
          <p:nvSpPr>
            <p:cNvPr id="52" name="TextBox 51">
              <a:extLst>
                <a:ext uri="{FF2B5EF4-FFF2-40B4-BE49-F238E27FC236}">
                  <a16:creationId xmlns:a16="http://schemas.microsoft.com/office/drawing/2014/main" id="{F792365B-C14C-4423-B61B-317CC12333A7}"/>
                </a:ext>
              </a:extLst>
            </p:cNvPr>
            <p:cNvSpPr txBox="1"/>
            <p:nvPr/>
          </p:nvSpPr>
          <p:spPr>
            <a:xfrm>
              <a:off x="1369195" y="1601609"/>
              <a:ext cx="4320480" cy="307777"/>
            </a:xfrm>
            <a:prstGeom prst="rect">
              <a:avLst/>
            </a:prstGeom>
            <a:noFill/>
          </p:spPr>
          <p:txBody>
            <a:bodyPr wrap="square" lIns="108000" rIns="108000"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1C1C1C">
                      <a:lumMod val="75000"/>
                      <a:lumOff val="25000"/>
                    </a:srgbClr>
                  </a:solidFill>
                  <a:effectLst/>
                  <a:uLnTx/>
                  <a:uFillTx/>
                  <a:latin typeface="Arial"/>
                  <a:ea typeface="+mn-ea"/>
                  <a:cs typeface="Arial" pitchFamily="34" charset="0"/>
                </a:rPr>
                <a:t>Member Rewards </a:t>
              </a:r>
              <a:endParaRPr kumimoji="0" lang="ko-KR" altLang="en-US" sz="1400" b="1" i="0" u="none" strike="noStrike" kern="1200" cap="none" spc="0" normalizeH="0" baseline="0" noProof="0" dirty="0">
                <a:ln>
                  <a:noFill/>
                </a:ln>
                <a:solidFill>
                  <a:srgbClr val="1C1C1C">
                    <a:lumMod val="75000"/>
                    <a:lumOff val="25000"/>
                  </a:srgbClr>
                </a:solidFill>
                <a:effectLst/>
                <a:uLnTx/>
                <a:uFillTx/>
                <a:latin typeface="Arial"/>
                <a:ea typeface="+mn-ea"/>
                <a:cs typeface="Arial" pitchFamily="34" charset="0"/>
              </a:endParaRPr>
            </a:p>
          </p:txBody>
        </p:sp>
      </p:grpSp>
      <p:grpSp>
        <p:nvGrpSpPr>
          <p:cNvPr id="57" name="Group 56">
            <a:extLst>
              <a:ext uri="{FF2B5EF4-FFF2-40B4-BE49-F238E27FC236}">
                <a16:creationId xmlns:a16="http://schemas.microsoft.com/office/drawing/2014/main" id="{F50934C9-7513-4C10-9215-24947768823A}"/>
              </a:ext>
            </a:extLst>
          </p:cNvPr>
          <p:cNvGrpSpPr/>
          <p:nvPr/>
        </p:nvGrpSpPr>
        <p:grpSpPr>
          <a:xfrm>
            <a:off x="938002" y="2312990"/>
            <a:ext cx="2018726" cy="3721541"/>
            <a:chOff x="433001" y="1399349"/>
            <a:chExt cx="2505075" cy="4618131"/>
          </a:xfrm>
          <a:solidFill>
            <a:srgbClr val="5A5B5C"/>
          </a:solidFill>
        </p:grpSpPr>
        <p:sp>
          <p:nvSpPr>
            <p:cNvPr id="58" name="Freeform: Shape 57">
              <a:extLst>
                <a:ext uri="{FF2B5EF4-FFF2-40B4-BE49-F238E27FC236}">
                  <a16:creationId xmlns:a16="http://schemas.microsoft.com/office/drawing/2014/main" id="{2CF21B86-9E9B-4A00-AE8C-BC1AD36CB35D}"/>
                </a:ext>
              </a:extLst>
            </p:cNvPr>
            <p:cNvSpPr/>
            <p:nvPr/>
          </p:nvSpPr>
          <p:spPr>
            <a:xfrm flipH="1">
              <a:off x="433001" y="1407380"/>
              <a:ext cx="2505075" cy="4610100"/>
            </a:xfrm>
            <a:custGeom>
              <a:avLst/>
              <a:gdLst>
                <a:gd name="connsiteX0" fmla="*/ 2506574 w 2505075"/>
                <a:gd name="connsiteY0" fmla="*/ 1319831 h 4610100"/>
                <a:gd name="connsiteX1" fmla="*/ 2419896 w 2505075"/>
                <a:gd name="connsiteY1" fmla="*/ 1597008 h 4610100"/>
                <a:gd name="connsiteX2" fmla="*/ 2297024 w 2505075"/>
                <a:gd name="connsiteY2" fmla="*/ 1953243 h 4610100"/>
                <a:gd name="connsiteX3" fmla="*/ 2223681 w 2505075"/>
                <a:gd name="connsiteY3" fmla="*/ 1977056 h 4610100"/>
                <a:gd name="connsiteX4" fmla="*/ 2181771 w 2505075"/>
                <a:gd name="connsiteY4" fmla="*/ 1967531 h 4610100"/>
                <a:gd name="connsiteX5" fmla="*/ 2192249 w 2505075"/>
                <a:gd name="connsiteY5" fmla="*/ 2057066 h 4610100"/>
                <a:gd name="connsiteX6" fmla="*/ 2197964 w 2505075"/>
                <a:gd name="connsiteY6" fmla="*/ 2281856 h 4610100"/>
                <a:gd name="connsiteX7" fmla="*/ 2174151 w 2505075"/>
                <a:gd name="connsiteY7" fmla="*/ 2359961 h 4610100"/>
                <a:gd name="connsiteX8" fmla="*/ 2148434 w 2505075"/>
                <a:gd name="connsiteY8" fmla="*/ 2443781 h 4610100"/>
                <a:gd name="connsiteX9" fmla="*/ 2158911 w 2505075"/>
                <a:gd name="connsiteY9" fmla="*/ 2773346 h 4610100"/>
                <a:gd name="connsiteX10" fmla="*/ 2195106 w 2505075"/>
                <a:gd name="connsiteY10" fmla="*/ 3105768 h 4610100"/>
                <a:gd name="connsiteX11" fmla="*/ 2199869 w 2505075"/>
                <a:gd name="connsiteY11" fmla="*/ 3123866 h 4610100"/>
                <a:gd name="connsiteX12" fmla="*/ 2271306 w 2505075"/>
                <a:gd name="connsiteY12" fmla="*/ 3309603 h 4610100"/>
                <a:gd name="connsiteX13" fmla="*/ 2389416 w 2505075"/>
                <a:gd name="connsiteY13" fmla="*/ 3806808 h 4610100"/>
                <a:gd name="connsiteX14" fmla="*/ 2400846 w 2505075"/>
                <a:gd name="connsiteY14" fmla="*/ 4025883 h 4610100"/>
                <a:gd name="connsiteX15" fmla="*/ 2428469 w 2505075"/>
                <a:gd name="connsiteY15" fmla="*/ 4251626 h 4610100"/>
                <a:gd name="connsiteX16" fmla="*/ 2451329 w 2505075"/>
                <a:gd name="connsiteY16" fmla="*/ 4492608 h 4610100"/>
                <a:gd name="connsiteX17" fmla="*/ 2413229 w 2505075"/>
                <a:gd name="connsiteY17" fmla="*/ 4541186 h 4610100"/>
                <a:gd name="connsiteX18" fmla="*/ 2241779 w 2505075"/>
                <a:gd name="connsiteY18" fmla="*/ 4529756 h 4610100"/>
                <a:gd name="connsiteX19" fmla="*/ 2136051 w 2505075"/>
                <a:gd name="connsiteY19" fmla="*/ 4560236 h 4610100"/>
                <a:gd name="connsiteX20" fmla="*/ 1966506 w 2505075"/>
                <a:gd name="connsiteY20" fmla="*/ 4604051 h 4610100"/>
                <a:gd name="connsiteX21" fmla="*/ 1729334 w 2505075"/>
                <a:gd name="connsiteY21" fmla="*/ 4564998 h 4610100"/>
                <a:gd name="connsiteX22" fmla="*/ 1660753 w 2505075"/>
                <a:gd name="connsiteY22" fmla="*/ 4506896 h 4610100"/>
                <a:gd name="connsiteX23" fmla="*/ 1734096 w 2505075"/>
                <a:gd name="connsiteY23" fmla="*/ 4407836 h 4610100"/>
                <a:gd name="connsiteX24" fmla="*/ 1886496 w 2505075"/>
                <a:gd name="connsiteY24" fmla="*/ 4358306 h 4610100"/>
                <a:gd name="connsiteX25" fmla="*/ 1980794 w 2505075"/>
                <a:gd name="connsiteY25" fmla="*/ 4264961 h 4610100"/>
                <a:gd name="connsiteX26" fmla="*/ 1989366 w 2505075"/>
                <a:gd name="connsiteY26" fmla="*/ 4249721 h 4610100"/>
                <a:gd name="connsiteX27" fmla="*/ 2080806 w 2505075"/>
                <a:gd name="connsiteY27" fmla="*/ 4107798 h 4610100"/>
                <a:gd name="connsiteX28" fmla="*/ 2096998 w 2505075"/>
                <a:gd name="connsiteY28" fmla="*/ 4062078 h 4610100"/>
                <a:gd name="connsiteX29" fmla="*/ 1957934 w 2505075"/>
                <a:gd name="connsiteY29" fmla="*/ 3826811 h 4610100"/>
                <a:gd name="connsiteX30" fmla="*/ 1895069 w 2505075"/>
                <a:gd name="connsiteY30" fmla="*/ 3535346 h 4610100"/>
                <a:gd name="connsiteX31" fmla="*/ 1867446 w 2505075"/>
                <a:gd name="connsiteY31" fmla="*/ 3420093 h 4610100"/>
                <a:gd name="connsiteX32" fmla="*/ 1754098 w 2505075"/>
                <a:gd name="connsiteY32" fmla="*/ 3091481 h 4610100"/>
                <a:gd name="connsiteX33" fmla="*/ 1736001 w 2505075"/>
                <a:gd name="connsiteY33" fmla="*/ 3229593 h 4610100"/>
                <a:gd name="connsiteX34" fmla="*/ 1749336 w 2505075"/>
                <a:gd name="connsiteY34" fmla="*/ 3292458 h 4610100"/>
                <a:gd name="connsiteX35" fmla="*/ 1694091 w 2505075"/>
                <a:gd name="connsiteY35" fmla="*/ 3704891 h 4610100"/>
                <a:gd name="connsiteX36" fmla="*/ 1691234 w 2505075"/>
                <a:gd name="connsiteY36" fmla="*/ 3723941 h 4610100"/>
                <a:gd name="connsiteX37" fmla="*/ 1696948 w 2505075"/>
                <a:gd name="connsiteY37" fmla="*/ 4043981 h 4610100"/>
                <a:gd name="connsiteX38" fmla="*/ 1709331 w 2505075"/>
                <a:gd name="connsiteY38" fmla="*/ 4361163 h 4610100"/>
                <a:gd name="connsiteX39" fmla="*/ 1676946 w 2505075"/>
                <a:gd name="connsiteY39" fmla="*/ 4403073 h 4610100"/>
                <a:gd name="connsiteX40" fmla="*/ 1531214 w 2505075"/>
                <a:gd name="connsiteY40" fmla="*/ 4415456 h 4610100"/>
                <a:gd name="connsiteX41" fmla="*/ 1507401 w 2505075"/>
                <a:gd name="connsiteY41" fmla="*/ 4398311 h 4610100"/>
                <a:gd name="connsiteX42" fmla="*/ 1443584 w 2505075"/>
                <a:gd name="connsiteY42" fmla="*/ 4370688 h 4610100"/>
                <a:gd name="connsiteX43" fmla="*/ 1330236 w 2505075"/>
                <a:gd name="connsiteY43" fmla="*/ 4422123 h 4610100"/>
                <a:gd name="connsiteX44" fmla="*/ 1224509 w 2505075"/>
                <a:gd name="connsiteY44" fmla="*/ 4439268 h 4610100"/>
                <a:gd name="connsiteX45" fmla="*/ 1021626 w 2505075"/>
                <a:gd name="connsiteY45" fmla="*/ 4407836 h 4610100"/>
                <a:gd name="connsiteX46" fmla="*/ 957808 w 2505075"/>
                <a:gd name="connsiteY46" fmla="*/ 4350686 h 4610100"/>
                <a:gd name="connsiteX47" fmla="*/ 1040676 w 2505075"/>
                <a:gd name="connsiteY47" fmla="*/ 4261151 h 4610100"/>
                <a:gd name="connsiteX48" fmla="*/ 1143546 w 2505075"/>
                <a:gd name="connsiteY48" fmla="*/ 4244958 h 4610100"/>
                <a:gd name="connsiteX49" fmla="*/ 1253084 w 2505075"/>
                <a:gd name="connsiteY49" fmla="*/ 4174473 h 4610100"/>
                <a:gd name="connsiteX50" fmla="*/ 1324521 w 2505075"/>
                <a:gd name="connsiteY50" fmla="*/ 4105893 h 4610100"/>
                <a:gd name="connsiteX51" fmla="*/ 1391196 w 2505075"/>
                <a:gd name="connsiteY51" fmla="*/ 4005881 h 4610100"/>
                <a:gd name="connsiteX52" fmla="*/ 1395006 w 2505075"/>
                <a:gd name="connsiteY52" fmla="*/ 3998261 h 4610100"/>
                <a:gd name="connsiteX53" fmla="*/ 1400721 w 2505075"/>
                <a:gd name="connsiteY53" fmla="*/ 3828716 h 4610100"/>
                <a:gd name="connsiteX54" fmla="*/ 1386434 w 2505075"/>
                <a:gd name="connsiteY54" fmla="*/ 3644883 h 4610100"/>
                <a:gd name="connsiteX55" fmla="*/ 1354048 w 2505075"/>
                <a:gd name="connsiteY55" fmla="*/ 3254358 h 4610100"/>
                <a:gd name="connsiteX56" fmla="*/ 1377861 w 2505075"/>
                <a:gd name="connsiteY56" fmla="*/ 3072431 h 4610100"/>
                <a:gd name="connsiteX57" fmla="*/ 1424534 w 2505075"/>
                <a:gd name="connsiteY57" fmla="*/ 2639996 h 4610100"/>
                <a:gd name="connsiteX58" fmla="*/ 1406436 w 2505075"/>
                <a:gd name="connsiteY58" fmla="*/ 2529506 h 4610100"/>
                <a:gd name="connsiteX59" fmla="*/ 1377861 w 2505075"/>
                <a:gd name="connsiteY59" fmla="*/ 2347578 h 4610100"/>
                <a:gd name="connsiteX60" fmla="*/ 1215936 w 2505075"/>
                <a:gd name="connsiteY60" fmla="*/ 2223753 h 4610100"/>
                <a:gd name="connsiteX61" fmla="*/ 1086396 w 2505075"/>
                <a:gd name="connsiteY61" fmla="*/ 2184701 h 4610100"/>
                <a:gd name="connsiteX62" fmla="*/ 986383 w 2505075"/>
                <a:gd name="connsiteY62" fmla="*/ 2132313 h 4610100"/>
                <a:gd name="connsiteX63" fmla="*/ 962571 w 2505075"/>
                <a:gd name="connsiteY63" fmla="*/ 2106596 h 4610100"/>
                <a:gd name="connsiteX64" fmla="*/ 943521 w 2505075"/>
                <a:gd name="connsiteY64" fmla="*/ 2053256 h 4610100"/>
                <a:gd name="connsiteX65" fmla="*/ 900658 w 2505075"/>
                <a:gd name="connsiteY65" fmla="*/ 2005631 h 4610100"/>
                <a:gd name="connsiteX66" fmla="*/ 872083 w 2505075"/>
                <a:gd name="connsiteY66" fmla="*/ 1971341 h 4610100"/>
                <a:gd name="connsiteX67" fmla="*/ 328206 w 2505075"/>
                <a:gd name="connsiteY67" fmla="*/ 1569386 h 4610100"/>
                <a:gd name="connsiteX68" fmla="*/ 57696 w 2505075"/>
                <a:gd name="connsiteY68" fmla="*/ 1357931 h 4610100"/>
                <a:gd name="connsiteX69" fmla="*/ 13881 w 2505075"/>
                <a:gd name="connsiteY69" fmla="*/ 1227438 h 4610100"/>
                <a:gd name="connsiteX70" fmla="*/ 80556 w 2505075"/>
                <a:gd name="connsiteY70" fmla="*/ 1016936 h 4610100"/>
                <a:gd name="connsiteX71" fmla="*/ 122466 w 2505075"/>
                <a:gd name="connsiteY71" fmla="*/ 955023 h 4610100"/>
                <a:gd name="connsiteX72" fmla="*/ 173901 w 2505075"/>
                <a:gd name="connsiteY72" fmla="*/ 856916 h 4610100"/>
                <a:gd name="connsiteX73" fmla="*/ 238671 w 2505075"/>
                <a:gd name="connsiteY73" fmla="*/ 852153 h 4610100"/>
                <a:gd name="connsiteX74" fmla="*/ 484416 w 2505075"/>
                <a:gd name="connsiteY74" fmla="*/ 1050273 h 4610100"/>
                <a:gd name="connsiteX75" fmla="*/ 823506 w 2505075"/>
                <a:gd name="connsiteY75" fmla="*/ 1307448 h 4610100"/>
                <a:gd name="connsiteX76" fmla="*/ 878751 w 2505075"/>
                <a:gd name="connsiteY76" fmla="*/ 1341738 h 4610100"/>
                <a:gd name="connsiteX77" fmla="*/ 903516 w 2505075"/>
                <a:gd name="connsiteY77" fmla="*/ 1341738 h 4610100"/>
                <a:gd name="connsiteX78" fmla="*/ 958761 w 2505075"/>
                <a:gd name="connsiteY78" fmla="*/ 1327451 h 4610100"/>
                <a:gd name="connsiteX79" fmla="*/ 1323569 w 2505075"/>
                <a:gd name="connsiteY79" fmla="*/ 1350311 h 4610100"/>
                <a:gd name="connsiteX80" fmla="*/ 1364526 w 2505075"/>
                <a:gd name="connsiteY80" fmla="*/ 1333166 h 4610100"/>
                <a:gd name="connsiteX81" fmla="*/ 1507401 w 2505075"/>
                <a:gd name="connsiteY81" fmla="*/ 1305543 h 4610100"/>
                <a:gd name="connsiteX82" fmla="*/ 1575028 w 2505075"/>
                <a:gd name="connsiteY82" fmla="*/ 1295066 h 4610100"/>
                <a:gd name="connsiteX83" fmla="*/ 1603603 w 2505075"/>
                <a:gd name="connsiteY83" fmla="*/ 1249346 h 4610100"/>
                <a:gd name="connsiteX84" fmla="*/ 1627416 w 2505075"/>
                <a:gd name="connsiteY84" fmla="*/ 1203626 h 4610100"/>
                <a:gd name="connsiteX85" fmla="*/ 1640751 w 2505075"/>
                <a:gd name="connsiteY85" fmla="*/ 1134093 h 4610100"/>
                <a:gd name="connsiteX86" fmla="*/ 1663611 w 2505075"/>
                <a:gd name="connsiteY86" fmla="*/ 1080753 h 4610100"/>
                <a:gd name="connsiteX87" fmla="*/ 1724571 w 2505075"/>
                <a:gd name="connsiteY87" fmla="*/ 1004553 h 4610100"/>
                <a:gd name="connsiteX88" fmla="*/ 1882686 w 2505075"/>
                <a:gd name="connsiteY88" fmla="*/ 815006 h 4610100"/>
                <a:gd name="connsiteX89" fmla="*/ 1795056 w 2505075"/>
                <a:gd name="connsiteY89" fmla="*/ 694991 h 4610100"/>
                <a:gd name="connsiteX90" fmla="*/ 1750289 w 2505075"/>
                <a:gd name="connsiteY90" fmla="*/ 562593 h 4610100"/>
                <a:gd name="connsiteX91" fmla="*/ 1640751 w 2505075"/>
                <a:gd name="connsiteY91" fmla="*/ 574023 h 4610100"/>
                <a:gd name="connsiteX92" fmla="*/ 1596936 w 2505075"/>
                <a:gd name="connsiteY92" fmla="*/ 552116 h 4610100"/>
                <a:gd name="connsiteX93" fmla="*/ 1616939 w 2505075"/>
                <a:gd name="connsiteY93" fmla="*/ 517826 h 4610100"/>
                <a:gd name="connsiteX94" fmla="*/ 1655991 w 2505075"/>
                <a:gd name="connsiteY94" fmla="*/ 376856 h 4610100"/>
                <a:gd name="connsiteX95" fmla="*/ 1740764 w 2505075"/>
                <a:gd name="connsiteY95" fmla="*/ 93963 h 4610100"/>
                <a:gd name="connsiteX96" fmla="*/ 1922691 w 2505075"/>
                <a:gd name="connsiteY96" fmla="*/ 10143 h 4610100"/>
                <a:gd name="connsiteX97" fmla="*/ 2188439 w 2505075"/>
                <a:gd name="connsiteY97" fmla="*/ 176831 h 4610100"/>
                <a:gd name="connsiteX98" fmla="*/ 2235111 w 2505075"/>
                <a:gd name="connsiteY98" fmla="*/ 248268 h 4610100"/>
                <a:gd name="connsiteX99" fmla="*/ 2247494 w 2505075"/>
                <a:gd name="connsiteY99" fmla="*/ 243506 h 4610100"/>
                <a:gd name="connsiteX100" fmla="*/ 2219871 w 2505075"/>
                <a:gd name="connsiteY100" fmla="*/ 305418 h 4610100"/>
                <a:gd name="connsiteX101" fmla="*/ 2249399 w 2505075"/>
                <a:gd name="connsiteY101" fmla="*/ 325421 h 4610100"/>
                <a:gd name="connsiteX102" fmla="*/ 2239874 w 2505075"/>
                <a:gd name="connsiteY102" fmla="*/ 371141 h 4610100"/>
                <a:gd name="connsiteX103" fmla="*/ 2223681 w 2505075"/>
                <a:gd name="connsiteY103" fmla="*/ 434958 h 4610100"/>
                <a:gd name="connsiteX104" fmla="*/ 2216061 w 2505075"/>
                <a:gd name="connsiteY104" fmla="*/ 522588 h 4610100"/>
                <a:gd name="connsiteX105" fmla="*/ 2250351 w 2505075"/>
                <a:gd name="connsiteY105" fmla="*/ 594026 h 4610100"/>
                <a:gd name="connsiteX106" fmla="*/ 2282736 w 2505075"/>
                <a:gd name="connsiteY106" fmla="*/ 631173 h 4610100"/>
                <a:gd name="connsiteX107" fmla="*/ 2335124 w 2505075"/>
                <a:gd name="connsiteY107" fmla="*/ 739758 h 4610100"/>
                <a:gd name="connsiteX108" fmla="*/ 2486571 w 2505075"/>
                <a:gd name="connsiteY108" fmla="*/ 1071228 h 4610100"/>
                <a:gd name="connsiteX109" fmla="*/ 2503716 w 2505075"/>
                <a:gd name="connsiteY109" fmla="*/ 1097898 h 4610100"/>
                <a:gd name="connsiteX110" fmla="*/ 2506574 w 2505075"/>
                <a:gd name="connsiteY110" fmla="*/ 1319831 h 4610100"/>
                <a:gd name="connsiteX111" fmla="*/ 1273086 w 2505075"/>
                <a:gd name="connsiteY111" fmla="*/ 1638918 h 4610100"/>
                <a:gd name="connsiteX112" fmla="*/ 1242606 w 2505075"/>
                <a:gd name="connsiteY112" fmla="*/ 1746551 h 4610100"/>
                <a:gd name="connsiteX113" fmla="*/ 1279753 w 2505075"/>
                <a:gd name="connsiteY113" fmla="*/ 1919906 h 4610100"/>
                <a:gd name="connsiteX114" fmla="*/ 1308328 w 2505075"/>
                <a:gd name="connsiteY114" fmla="*/ 1942766 h 4610100"/>
                <a:gd name="connsiteX115" fmla="*/ 1478826 w 2505075"/>
                <a:gd name="connsiteY115" fmla="*/ 1882758 h 4610100"/>
                <a:gd name="connsiteX116" fmla="*/ 1497876 w 2505075"/>
                <a:gd name="connsiteY116" fmla="*/ 1593198 h 4610100"/>
                <a:gd name="connsiteX117" fmla="*/ 1435964 w 2505075"/>
                <a:gd name="connsiteY117" fmla="*/ 1557956 h 4610100"/>
                <a:gd name="connsiteX118" fmla="*/ 1208316 w 2505075"/>
                <a:gd name="connsiteY118" fmla="*/ 1484613 h 4610100"/>
                <a:gd name="connsiteX119" fmla="*/ 1161644 w 2505075"/>
                <a:gd name="connsiteY119" fmla="*/ 1471278 h 4610100"/>
                <a:gd name="connsiteX120" fmla="*/ 1078776 w 2505075"/>
                <a:gd name="connsiteY120" fmla="*/ 1483661 h 4610100"/>
                <a:gd name="connsiteX121" fmla="*/ 1273086 w 2505075"/>
                <a:gd name="connsiteY121" fmla="*/ 1638918 h 4610100"/>
                <a:gd name="connsiteX122" fmla="*/ 1464539 w 2505075"/>
                <a:gd name="connsiteY122" fmla="*/ 2075163 h 4610100"/>
                <a:gd name="connsiteX123" fmla="*/ 1359764 w 2505075"/>
                <a:gd name="connsiteY123" fmla="*/ 2097071 h 4610100"/>
                <a:gd name="connsiteX124" fmla="*/ 1322616 w 2505075"/>
                <a:gd name="connsiteY124" fmla="*/ 2169461 h 4610100"/>
                <a:gd name="connsiteX125" fmla="*/ 1340714 w 2505075"/>
                <a:gd name="connsiteY125" fmla="*/ 2215181 h 4610100"/>
                <a:gd name="connsiteX126" fmla="*/ 1420723 w 2505075"/>
                <a:gd name="connsiteY126" fmla="*/ 2246613 h 4610100"/>
                <a:gd name="connsiteX127" fmla="*/ 1455014 w 2505075"/>
                <a:gd name="connsiteY127" fmla="*/ 2304716 h 4610100"/>
                <a:gd name="connsiteX128" fmla="*/ 1459776 w 2505075"/>
                <a:gd name="connsiteY128" fmla="*/ 2237088 h 4610100"/>
                <a:gd name="connsiteX129" fmla="*/ 1464539 w 2505075"/>
                <a:gd name="connsiteY129" fmla="*/ 2075163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505075" h="4610100">
                  <a:moveTo>
                    <a:pt x="2506574" y="1319831"/>
                  </a:moveTo>
                  <a:cubicBezTo>
                    <a:pt x="2448471" y="1403651"/>
                    <a:pt x="2446566" y="1500806"/>
                    <a:pt x="2419896" y="1597008"/>
                  </a:cubicBezTo>
                  <a:cubicBezTo>
                    <a:pt x="2385606" y="1717976"/>
                    <a:pt x="2339886" y="1835133"/>
                    <a:pt x="2297024" y="1953243"/>
                  </a:cubicBezTo>
                  <a:cubicBezTo>
                    <a:pt x="2284641" y="1986581"/>
                    <a:pt x="2257971" y="1996106"/>
                    <a:pt x="2223681" y="1977056"/>
                  </a:cubicBezTo>
                  <a:cubicBezTo>
                    <a:pt x="2211299" y="1970388"/>
                    <a:pt x="2195106" y="1970388"/>
                    <a:pt x="2181771" y="1967531"/>
                  </a:cubicBezTo>
                  <a:cubicBezTo>
                    <a:pt x="2185581" y="2000868"/>
                    <a:pt x="2190344" y="2028491"/>
                    <a:pt x="2192249" y="2057066"/>
                  </a:cubicBezTo>
                  <a:cubicBezTo>
                    <a:pt x="2195106" y="2132313"/>
                    <a:pt x="2198916" y="2207561"/>
                    <a:pt x="2197964" y="2281856"/>
                  </a:cubicBezTo>
                  <a:cubicBezTo>
                    <a:pt x="2197964" y="2308526"/>
                    <a:pt x="2192249" y="2344721"/>
                    <a:pt x="2174151" y="2359961"/>
                  </a:cubicBezTo>
                  <a:cubicBezTo>
                    <a:pt x="2144624" y="2385678"/>
                    <a:pt x="2147481" y="2412348"/>
                    <a:pt x="2148434" y="2443781"/>
                  </a:cubicBezTo>
                  <a:cubicBezTo>
                    <a:pt x="2152244" y="2553318"/>
                    <a:pt x="2151291" y="2663808"/>
                    <a:pt x="2158911" y="2773346"/>
                  </a:cubicBezTo>
                  <a:cubicBezTo>
                    <a:pt x="2166531" y="2884788"/>
                    <a:pt x="2182724" y="2995278"/>
                    <a:pt x="2195106" y="3105768"/>
                  </a:cubicBezTo>
                  <a:cubicBezTo>
                    <a:pt x="2196059" y="3111483"/>
                    <a:pt x="2196059" y="3120056"/>
                    <a:pt x="2199869" y="3123866"/>
                  </a:cubicBezTo>
                  <a:cubicBezTo>
                    <a:pt x="2257971" y="3172443"/>
                    <a:pt x="2257019" y="3242928"/>
                    <a:pt x="2271306" y="3309603"/>
                  </a:cubicBezTo>
                  <a:cubicBezTo>
                    <a:pt x="2307501" y="3476291"/>
                    <a:pt x="2344649" y="3642978"/>
                    <a:pt x="2389416" y="3806808"/>
                  </a:cubicBezTo>
                  <a:cubicBezTo>
                    <a:pt x="2409419" y="3881103"/>
                    <a:pt x="2395131" y="3952541"/>
                    <a:pt x="2400846" y="4025883"/>
                  </a:cubicBezTo>
                  <a:cubicBezTo>
                    <a:pt x="2406561" y="4101131"/>
                    <a:pt x="2419896" y="4176378"/>
                    <a:pt x="2428469" y="4251626"/>
                  </a:cubicBezTo>
                  <a:cubicBezTo>
                    <a:pt x="2437041" y="4331636"/>
                    <a:pt x="2442756" y="4412598"/>
                    <a:pt x="2451329" y="4492608"/>
                  </a:cubicBezTo>
                  <a:cubicBezTo>
                    <a:pt x="2454186" y="4522136"/>
                    <a:pt x="2441804" y="4536423"/>
                    <a:pt x="2413229" y="4541186"/>
                  </a:cubicBezTo>
                  <a:cubicBezTo>
                    <a:pt x="2355126" y="4551663"/>
                    <a:pt x="2300834" y="4573571"/>
                    <a:pt x="2241779" y="4529756"/>
                  </a:cubicBezTo>
                  <a:cubicBezTo>
                    <a:pt x="2222729" y="4515468"/>
                    <a:pt x="2160816" y="4536423"/>
                    <a:pt x="2136051" y="4560236"/>
                  </a:cubicBezTo>
                  <a:cubicBezTo>
                    <a:pt x="2084616" y="4609766"/>
                    <a:pt x="2023656" y="4606908"/>
                    <a:pt x="1966506" y="4604051"/>
                  </a:cubicBezTo>
                  <a:cubicBezTo>
                    <a:pt x="1886496" y="4600241"/>
                    <a:pt x="1807439" y="4582143"/>
                    <a:pt x="1729334" y="4564998"/>
                  </a:cubicBezTo>
                  <a:cubicBezTo>
                    <a:pt x="1699806" y="4558331"/>
                    <a:pt x="1658848" y="4555473"/>
                    <a:pt x="1660753" y="4506896"/>
                  </a:cubicBezTo>
                  <a:cubicBezTo>
                    <a:pt x="1662659" y="4455461"/>
                    <a:pt x="1688376" y="4422123"/>
                    <a:pt x="1734096" y="4407836"/>
                  </a:cubicBezTo>
                  <a:cubicBezTo>
                    <a:pt x="1785531" y="4392596"/>
                    <a:pt x="1840776" y="4384023"/>
                    <a:pt x="1886496" y="4358306"/>
                  </a:cubicBezTo>
                  <a:cubicBezTo>
                    <a:pt x="1923644" y="4337351"/>
                    <a:pt x="1950314" y="4297346"/>
                    <a:pt x="1980794" y="4264961"/>
                  </a:cubicBezTo>
                  <a:cubicBezTo>
                    <a:pt x="1984603" y="4261151"/>
                    <a:pt x="1985556" y="4250673"/>
                    <a:pt x="1989366" y="4249721"/>
                  </a:cubicBezTo>
                  <a:cubicBezTo>
                    <a:pt x="2067471" y="4232576"/>
                    <a:pt x="2066519" y="4164948"/>
                    <a:pt x="2080806" y="4107798"/>
                  </a:cubicBezTo>
                  <a:cubicBezTo>
                    <a:pt x="2084616" y="4092558"/>
                    <a:pt x="2091284" y="4078271"/>
                    <a:pt x="2096998" y="4062078"/>
                  </a:cubicBezTo>
                  <a:cubicBezTo>
                    <a:pt x="1999844" y="4015406"/>
                    <a:pt x="1987461" y="3912536"/>
                    <a:pt x="1957934" y="3826811"/>
                  </a:cubicBezTo>
                  <a:cubicBezTo>
                    <a:pt x="1925548" y="3733466"/>
                    <a:pt x="1915071" y="3632501"/>
                    <a:pt x="1895069" y="3535346"/>
                  </a:cubicBezTo>
                  <a:cubicBezTo>
                    <a:pt x="1886496" y="3497246"/>
                    <a:pt x="1879828" y="3458193"/>
                    <a:pt x="1867446" y="3420093"/>
                  </a:cubicBezTo>
                  <a:cubicBezTo>
                    <a:pt x="1831251" y="3311508"/>
                    <a:pt x="1793151" y="3202923"/>
                    <a:pt x="1754098" y="3091481"/>
                  </a:cubicBezTo>
                  <a:cubicBezTo>
                    <a:pt x="1722666" y="3134343"/>
                    <a:pt x="1702664" y="3176253"/>
                    <a:pt x="1736001" y="3229593"/>
                  </a:cubicBezTo>
                  <a:cubicBezTo>
                    <a:pt x="1746478" y="3246738"/>
                    <a:pt x="1752194" y="3272456"/>
                    <a:pt x="1749336" y="3292458"/>
                  </a:cubicBezTo>
                  <a:cubicBezTo>
                    <a:pt x="1732191" y="3430571"/>
                    <a:pt x="1713141" y="3567731"/>
                    <a:pt x="1694091" y="3704891"/>
                  </a:cubicBezTo>
                  <a:cubicBezTo>
                    <a:pt x="1693139" y="3711558"/>
                    <a:pt x="1690281" y="3717273"/>
                    <a:pt x="1691234" y="3723941"/>
                  </a:cubicBezTo>
                  <a:cubicBezTo>
                    <a:pt x="1693139" y="3830621"/>
                    <a:pt x="1693139" y="3937301"/>
                    <a:pt x="1696948" y="4043981"/>
                  </a:cubicBezTo>
                  <a:cubicBezTo>
                    <a:pt x="1699806" y="4149708"/>
                    <a:pt x="1704569" y="4255436"/>
                    <a:pt x="1709331" y="4361163"/>
                  </a:cubicBezTo>
                  <a:cubicBezTo>
                    <a:pt x="1710284" y="4386881"/>
                    <a:pt x="1701711" y="4401168"/>
                    <a:pt x="1676946" y="4403073"/>
                  </a:cubicBezTo>
                  <a:cubicBezTo>
                    <a:pt x="1628369" y="4407836"/>
                    <a:pt x="1579791" y="4412598"/>
                    <a:pt x="1531214" y="4415456"/>
                  </a:cubicBezTo>
                  <a:cubicBezTo>
                    <a:pt x="1523594" y="4415456"/>
                    <a:pt x="1510259" y="4405931"/>
                    <a:pt x="1507401" y="4398311"/>
                  </a:cubicBezTo>
                  <a:cubicBezTo>
                    <a:pt x="1496923" y="4363068"/>
                    <a:pt x="1470253" y="4360211"/>
                    <a:pt x="1443584" y="4370688"/>
                  </a:cubicBezTo>
                  <a:cubicBezTo>
                    <a:pt x="1404531" y="4384976"/>
                    <a:pt x="1369289" y="4408788"/>
                    <a:pt x="1330236" y="4422123"/>
                  </a:cubicBezTo>
                  <a:cubicBezTo>
                    <a:pt x="1296898" y="4433553"/>
                    <a:pt x="1259751" y="4442126"/>
                    <a:pt x="1224509" y="4439268"/>
                  </a:cubicBezTo>
                  <a:cubicBezTo>
                    <a:pt x="1155929" y="4433553"/>
                    <a:pt x="1088301" y="4423076"/>
                    <a:pt x="1021626" y="4407836"/>
                  </a:cubicBezTo>
                  <a:cubicBezTo>
                    <a:pt x="994004" y="4402121"/>
                    <a:pt x="954951" y="4395453"/>
                    <a:pt x="957808" y="4350686"/>
                  </a:cubicBezTo>
                  <a:cubicBezTo>
                    <a:pt x="960666" y="4304966"/>
                    <a:pt x="997814" y="4267818"/>
                    <a:pt x="1040676" y="4261151"/>
                  </a:cubicBezTo>
                  <a:cubicBezTo>
                    <a:pt x="1074966" y="4256388"/>
                    <a:pt x="1109256" y="4250673"/>
                    <a:pt x="1143546" y="4244958"/>
                  </a:cubicBezTo>
                  <a:cubicBezTo>
                    <a:pt x="1190219" y="4237338"/>
                    <a:pt x="1227366" y="4219241"/>
                    <a:pt x="1253084" y="4174473"/>
                  </a:cubicBezTo>
                  <a:cubicBezTo>
                    <a:pt x="1268323" y="4146851"/>
                    <a:pt x="1303566" y="4131611"/>
                    <a:pt x="1324521" y="4105893"/>
                  </a:cubicBezTo>
                  <a:cubicBezTo>
                    <a:pt x="1349286" y="4075413"/>
                    <a:pt x="1369289" y="4039218"/>
                    <a:pt x="1391196" y="4005881"/>
                  </a:cubicBezTo>
                  <a:cubicBezTo>
                    <a:pt x="1393101" y="4003023"/>
                    <a:pt x="1395959" y="3998261"/>
                    <a:pt x="1395006" y="3998261"/>
                  </a:cubicBezTo>
                  <a:cubicBezTo>
                    <a:pt x="1330236" y="3941111"/>
                    <a:pt x="1417866" y="3888723"/>
                    <a:pt x="1400721" y="3828716"/>
                  </a:cubicBezTo>
                  <a:cubicBezTo>
                    <a:pt x="1383576" y="3770613"/>
                    <a:pt x="1383576" y="3705843"/>
                    <a:pt x="1386434" y="3644883"/>
                  </a:cubicBezTo>
                  <a:cubicBezTo>
                    <a:pt x="1394053" y="3512486"/>
                    <a:pt x="1378814" y="3383898"/>
                    <a:pt x="1354048" y="3254358"/>
                  </a:cubicBezTo>
                  <a:cubicBezTo>
                    <a:pt x="1343571" y="3197208"/>
                    <a:pt x="1367384" y="3133391"/>
                    <a:pt x="1377861" y="3072431"/>
                  </a:cubicBezTo>
                  <a:cubicBezTo>
                    <a:pt x="1404531" y="2929556"/>
                    <a:pt x="1420723" y="2785728"/>
                    <a:pt x="1424534" y="2639996"/>
                  </a:cubicBezTo>
                  <a:cubicBezTo>
                    <a:pt x="1425486" y="2604753"/>
                    <a:pt x="1413103" y="2569511"/>
                    <a:pt x="1406436" y="2529506"/>
                  </a:cubicBezTo>
                  <a:cubicBezTo>
                    <a:pt x="1451203" y="2481881"/>
                    <a:pt x="1438821" y="2392346"/>
                    <a:pt x="1377861" y="2347578"/>
                  </a:cubicBezTo>
                  <a:cubicBezTo>
                    <a:pt x="1322616" y="2307573"/>
                    <a:pt x="1267371" y="2268521"/>
                    <a:pt x="1215936" y="2223753"/>
                  </a:cubicBezTo>
                  <a:cubicBezTo>
                    <a:pt x="1176884" y="2189463"/>
                    <a:pt x="1133069" y="2173271"/>
                    <a:pt x="1086396" y="2184701"/>
                  </a:cubicBezTo>
                  <a:cubicBezTo>
                    <a:pt x="1033056" y="2197083"/>
                    <a:pt x="1021626" y="2144696"/>
                    <a:pt x="986383" y="2132313"/>
                  </a:cubicBezTo>
                  <a:cubicBezTo>
                    <a:pt x="976858" y="2129456"/>
                    <a:pt x="967333" y="2117073"/>
                    <a:pt x="962571" y="2106596"/>
                  </a:cubicBezTo>
                  <a:cubicBezTo>
                    <a:pt x="954951" y="2091356"/>
                    <a:pt x="951141" y="2074211"/>
                    <a:pt x="943521" y="2053256"/>
                  </a:cubicBezTo>
                  <a:cubicBezTo>
                    <a:pt x="912089" y="2063733"/>
                    <a:pt x="887323" y="2058018"/>
                    <a:pt x="900658" y="2005631"/>
                  </a:cubicBezTo>
                  <a:cubicBezTo>
                    <a:pt x="902564" y="1997058"/>
                    <a:pt x="884466" y="1979913"/>
                    <a:pt x="872083" y="1971341"/>
                  </a:cubicBezTo>
                  <a:cubicBezTo>
                    <a:pt x="691108" y="1837038"/>
                    <a:pt x="508228" y="1703688"/>
                    <a:pt x="328206" y="1569386"/>
                  </a:cubicBezTo>
                  <a:cubicBezTo>
                    <a:pt x="231051" y="1496996"/>
                    <a:pt x="155803" y="1429368"/>
                    <a:pt x="57696" y="1357931"/>
                  </a:cubicBezTo>
                  <a:cubicBezTo>
                    <a:pt x="10071" y="1322688"/>
                    <a:pt x="-2312" y="1280778"/>
                    <a:pt x="13881" y="1227438"/>
                  </a:cubicBezTo>
                  <a:cubicBezTo>
                    <a:pt x="34836" y="1156953"/>
                    <a:pt x="55791" y="1085516"/>
                    <a:pt x="80556" y="1016936"/>
                  </a:cubicBezTo>
                  <a:cubicBezTo>
                    <a:pt x="88176" y="994076"/>
                    <a:pt x="110083" y="976931"/>
                    <a:pt x="122466" y="955023"/>
                  </a:cubicBezTo>
                  <a:cubicBezTo>
                    <a:pt x="140563" y="923591"/>
                    <a:pt x="156756" y="889301"/>
                    <a:pt x="173901" y="856916"/>
                  </a:cubicBezTo>
                  <a:cubicBezTo>
                    <a:pt x="192951" y="823578"/>
                    <a:pt x="213906" y="832151"/>
                    <a:pt x="238671" y="852153"/>
                  </a:cubicBezTo>
                  <a:cubicBezTo>
                    <a:pt x="326301" y="921686"/>
                    <a:pt x="394881" y="981693"/>
                    <a:pt x="484416" y="1050273"/>
                  </a:cubicBezTo>
                  <a:cubicBezTo>
                    <a:pt x="594906" y="1137903"/>
                    <a:pt x="709206" y="1222676"/>
                    <a:pt x="823506" y="1307448"/>
                  </a:cubicBezTo>
                  <a:cubicBezTo>
                    <a:pt x="840651" y="1320783"/>
                    <a:pt x="859701" y="1332213"/>
                    <a:pt x="878751" y="1341738"/>
                  </a:cubicBezTo>
                  <a:cubicBezTo>
                    <a:pt x="885418" y="1345548"/>
                    <a:pt x="895896" y="1343643"/>
                    <a:pt x="903516" y="1341738"/>
                  </a:cubicBezTo>
                  <a:cubicBezTo>
                    <a:pt x="922566" y="1337928"/>
                    <a:pt x="940664" y="1326498"/>
                    <a:pt x="958761" y="1327451"/>
                  </a:cubicBezTo>
                  <a:cubicBezTo>
                    <a:pt x="1080681" y="1334118"/>
                    <a:pt x="1201648" y="1343643"/>
                    <a:pt x="1323569" y="1350311"/>
                  </a:cubicBezTo>
                  <a:cubicBezTo>
                    <a:pt x="1336903" y="1351263"/>
                    <a:pt x="1351191" y="1338881"/>
                    <a:pt x="1364526" y="1333166"/>
                  </a:cubicBezTo>
                  <a:cubicBezTo>
                    <a:pt x="1410246" y="1314116"/>
                    <a:pt x="1450251" y="1278873"/>
                    <a:pt x="1507401" y="1305543"/>
                  </a:cubicBezTo>
                  <a:cubicBezTo>
                    <a:pt x="1524546" y="1314116"/>
                    <a:pt x="1555026" y="1305543"/>
                    <a:pt x="1575028" y="1295066"/>
                  </a:cubicBezTo>
                  <a:cubicBezTo>
                    <a:pt x="1588364" y="1288398"/>
                    <a:pt x="1595031" y="1265538"/>
                    <a:pt x="1603603" y="1249346"/>
                  </a:cubicBezTo>
                  <a:cubicBezTo>
                    <a:pt x="1612176" y="1234106"/>
                    <a:pt x="1622653" y="1219818"/>
                    <a:pt x="1627416" y="1203626"/>
                  </a:cubicBezTo>
                  <a:cubicBezTo>
                    <a:pt x="1634084" y="1180766"/>
                    <a:pt x="1635036" y="1156953"/>
                    <a:pt x="1640751" y="1134093"/>
                  </a:cubicBezTo>
                  <a:cubicBezTo>
                    <a:pt x="1645514" y="1115996"/>
                    <a:pt x="1652181" y="1095993"/>
                    <a:pt x="1663611" y="1080753"/>
                  </a:cubicBezTo>
                  <a:cubicBezTo>
                    <a:pt x="1681709" y="1054083"/>
                    <a:pt x="1710284" y="1033128"/>
                    <a:pt x="1724571" y="1004553"/>
                  </a:cubicBezTo>
                  <a:cubicBezTo>
                    <a:pt x="1760766" y="929306"/>
                    <a:pt x="1796961" y="855963"/>
                    <a:pt x="1882686" y="815006"/>
                  </a:cubicBezTo>
                  <a:cubicBezTo>
                    <a:pt x="1852206" y="771191"/>
                    <a:pt x="1833156" y="708326"/>
                    <a:pt x="1795056" y="694991"/>
                  </a:cubicBezTo>
                  <a:cubicBezTo>
                    <a:pt x="1712189" y="665463"/>
                    <a:pt x="1756003" y="608313"/>
                    <a:pt x="1750289" y="562593"/>
                  </a:cubicBezTo>
                  <a:cubicBezTo>
                    <a:pt x="1712189" y="567356"/>
                    <a:pt x="1676946" y="573071"/>
                    <a:pt x="1640751" y="574023"/>
                  </a:cubicBezTo>
                  <a:cubicBezTo>
                    <a:pt x="1626464" y="574023"/>
                    <a:pt x="1612176" y="559736"/>
                    <a:pt x="1596936" y="552116"/>
                  </a:cubicBezTo>
                  <a:cubicBezTo>
                    <a:pt x="1603603" y="540686"/>
                    <a:pt x="1608366" y="526398"/>
                    <a:pt x="1616939" y="517826"/>
                  </a:cubicBezTo>
                  <a:cubicBezTo>
                    <a:pt x="1657896" y="477821"/>
                    <a:pt x="1669326" y="434958"/>
                    <a:pt x="1655991" y="376856"/>
                  </a:cubicBezTo>
                  <a:cubicBezTo>
                    <a:pt x="1632178" y="269223"/>
                    <a:pt x="1644561" y="163496"/>
                    <a:pt x="1740764" y="93963"/>
                  </a:cubicBezTo>
                  <a:cubicBezTo>
                    <a:pt x="1794103" y="54911"/>
                    <a:pt x="1858873" y="24431"/>
                    <a:pt x="1922691" y="10143"/>
                  </a:cubicBezTo>
                  <a:cubicBezTo>
                    <a:pt x="2017941" y="-10812"/>
                    <a:pt x="2150339" y="81581"/>
                    <a:pt x="2188439" y="176831"/>
                  </a:cubicBezTo>
                  <a:cubicBezTo>
                    <a:pt x="2198916" y="202548"/>
                    <a:pt x="2219871" y="224456"/>
                    <a:pt x="2235111" y="248268"/>
                  </a:cubicBezTo>
                  <a:cubicBezTo>
                    <a:pt x="2238921" y="246363"/>
                    <a:pt x="2243684" y="245411"/>
                    <a:pt x="2247494" y="243506"/>
                  </a:cubicBezTo>
                  <a:cubicBezTo>
                    <a:pt x="2237969" y="265413"/>
                    <a:pt x="2228444" y="288273"/>
                    <a:pt x="2219871" y="305418"/>
                  </a:cubicBezTo>
                  <a:cubicBezTo>
                    <a:pt x="2232254" y="313991"/>
                    <a:pt x="2249399" y="318753"/>
                    <a:pt x="2249399" y="325421"/>
                  </a:cubicBezTo>
                  <a:cubicBezTo>
                    <a:pt x="2250351" y="340661"/>
                    <a:pt x="2249399" y="364473"/>
                    <a:pt x="2239874" y="371141"/>
                  </a:cubicBezTo>
                  <a:cubicBezTo>
                    <a:pt x="2212251" y="390191"/>
                    <a:pt x="2217014" y="407336"/>
                    <a:pt x="2223681" y="434958"/>
                  </a:cubicBezTo>
                  <a:cubicBezTo>
                    <a:pt x="2230349" y="462581"/>
                    <a:pt x="2222729" y="494013"/>
                    <a:pt x="2216061" y="522588"/>
                  </a:cubicBezTo>
                  <a:cubicBezTo>
                    <a:pt x="2208441" y="557831"/>
                    <a:pt x="2205584" y="583548"/>
                    <a:pt x="2250351" y="594026"/>
                  </a:cubicBezTo>
                  <a:cubicBezTo>
                    <a:pt x="2263686" y="596883"/>
                    <a:pt x="2275116" y="616886"/>
                    <a:pt x="2282736" y="631173"/>
                  </a:cubicBezTo>
                  <a:cubicBezTo>
                    <a:pt x="2301786" y="666416"/>
                    <a:pt x="2313216" y="706421"/>
                    <a:pt x="2335124" y="739758"/>
                  </a:cubicBezTo>
                  <a:cubicBezTo>
                    <a:pt x="2401799" y="845486"/>
                    <a:pt x="2458949" y="945498"/>
                    <a:pt x="2486571" y="1071228"/>
                  </a:cubicBezTo>
                  <a:cubicBezTo>
                    <a:pt x="2488476" y="1080753"/>
                    <a:pt x="2498001" y="1089326"/>
                    <a:pt x="2503716" y="1097898"/>
                  </a:cubicBezTo>
                  <a:cubicBezTo>
                    <a:pt x="2506574" y="1174098"/>
                    <a:pt x="2506574" y="1246488"/>
                    <a:pt x="2506574" y="1319831"/>
                  </a:cubicBezTo>
                  <a:close/>
                  <a:moveTo>
                    <a:pt x="1273086" y="1638918"/>
                  </a:moveTo>
                  <a:cubicBezTo>
                    <a:pt x="1260703" y="1678923"/>
                    <a:pt x="1240701" y="1713213"/>
                    <a:pt x="1242606" y="1746551"/>
                  </a:cubicBezTo>
                  <a:cubicBezTo>
                    <a:pt x="1247369" y="1804653"/>
                    <a:pt x="1264514" y="1862756"/>
                    <a:pt x="1279753" y="1919906"/>
                  </a:cubicBezTo>
                  <a:cubicBezTo>
                    <a:pt x="1282611" y="1929431"/>
                    <a:pt x="1301661" y="1944671"/>
                    <a:pt x="1308328" y="1942766"/>
                  </a:cubicBezTo>
                  <a:cubicBezTo>
                    <a:pt x="1365478" y="1924668"/>
                    <a:pt x="1420723" y="1903713"/>
                    <a:pt x="1478826" y="1882758"/>
                  </a:cubicBezTo>
                  <a:cubicBezTo>
                    <a:pt x="1432153" y="1777031"/>
                    <a:pt x="1483589" y="1684638"/>
                    <a:pt x="1497876" y="1593198"/>
                  </a:cubicBezTo>
                  <a:cubicBezTo>
                    <a:pt x="1474064" y="1579863"/>
                    <a:pt x="1451203" y="1573196"/>
                    <a:pt x="1435964" y="1557956"/>
                  </a:cubicBezTo>
                  <a:cubicBezTo>
                    <a:pt x="1372146" y="1493186"/>
                    <a:pt x="1285469" y="1505568"/>
                    <a:pt x="1208316" y="1484613"/>
                  </a:cubicBezTo>
                  <a:cubicBezTo>
                    <a:pt x="1193076" y="1480803"/>
                    <a:pt x="1176884" y="1476041"/>
                    <a:pt x="1161644" y="1471278"/>
                  </a:cubicBezTo>
                  <a:cubicBezTo>
                    <a:pt x="1133069" y="1461753"/>
                    <a:pt x="1103541" y="1450323"/>
                    <a:pt x="1078776" y="1483661"/>
                  </a:cubicBezTo>
                  <a:cubicBezTo>
                    <a:pt x="1146404" y="1537001"/>
                    <a:pt x="1211173" y="1588436"/>
                    <a:pt x="1273086" y="1638918"/>
                  </a:cubicBezTo>
                  <a:close/>
                  <a:moveTo>
                    <a:pt x="1464539" y="2075163"/>
                  </a:moveTo>
                  <a:cubicBezTo>
                    <a:pt x="1427391" y="2082783"/>
                    <a:pt x="1393101" y="2089451"/>
                    <a:pt x="1359764" y="2097071"/>
                  </a:cubicBezTo>
                  <a:cubicBezTo>
                    <a:pt x="1318806" y="2106596"/>
                    <a:pt x="1305471" y="2129456"/>
                    <a:pt x="1322616" y="2169461"/>
                  </a:cubicBezTo>
                  <a:cubicBezTo>
                    <a:pt x="1329284" y="2184701"/>
                    <a:pt x="1334998" y="2199941"/>
                    <a:pt x="1340714" y="2215181"/>
                  </a:cubicBezTo>
                  <a:cubicBezTo>
                    <a:pt x="1396911" y="2194226"/>
                    <a:pt x="1396911" y="2194226"/>
                    <a:pt x="1420723" y="2246613"/>
                  </a:cubicBezTo>
                  <a:cubicBezTo>
                    <a:pt x="1428344" y="2262806"/>
                    <a:pt x="1438821" y="2278046"/>
                    <a:pt x="1455014" y="2304716"/>
                  </a:cubicBezTo>
                  <a:cubicBezTo>
                    <a:pt x="1456919" y="2271378"/>
                    <a:pt x="1451203" y="2248518"/>
                    <a:pt x="1459776" y="2237088"/>
                  </a:cubicBezTo>
                  <a:cubicBezTo>
                    <a:pt x="1499781" y="2183748"/>
                    <a:pt x="1503591" y="2132313"/>
                    <a:pt x="1464539" y="2075163"/>
                  </a:cubicBezTo>
                  <a:close/>
                </a:path>
              </a:pathLst>
            </a:custGeom>
            <a:grpFill/>
            <a:ln w="9525" cap="flat">
              <a:noFill/>
              <a:prstDash val="solid"/>
              <a:miter/>
            </a:ln>
          </p:spPr>
          <p:txBody>
            <a:bodyPr rtlCol="0" anchor="ct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CB206D9E-EB0B-41C9-B1EF-E04B0D9BDCBC}"/>
                </a:ext>
              </a:extLst>
            </p:cNvPr>
            <p:cNvSpPr/>
            <p:nvPr/>
          </p:nvSpPr>
          <p:spPr>
            <a:xfrm flipH="1">
              <a:off x="700577" y="1399349"/>
              <a:ext cx="647458" cy="566880"/>
            </a:xfrm>
            <a:custGeom>
              <a:avLst/>
              <a:gdLst>
                <a:gd name="connsiteX0" fmla="*/ 325755 w 647458"/>
                <a:gd name="connsiteY0" fmla="*/ 3000 h 566880"/>
                <a:gd name="connsiteX1" fmla="*/ 143828 w 647458"/>
                <a:gd name="connsiteY1" fmla="*/ 86820 h 566880"/>
                <a:gd name="connsiteX2" fmla="*/ 59055 w 647458"/>
                <a:gd name="connsiteY2" fmla="*/ 369713 h 566880"/>
                <a:gd name="connsiteX3" fmla="*/ 20003 w 647458"/>
                <a:gd name="connsiteY3" fmla="*/ 510683 h 566880"/>
                <a:gd name="connsiteX4" fmla="*/ 0 w 647458"/>
                <a:gd name="connsiteY4" fmla="*/ 544973 h 566880"/>
                <a:gd name="connsiteX5" fmla="*/ 43815 w 647458"/>
                <a:gd name="connsiteY5" fmla="*/ 566880 h 566880"/>
                <a:gd name="connsiteX6" fmla="*/ 65495 w 647458"/>
                <a:gd name="connsiteY6" fmla="*/ 564618 h 566880"/>
                <a:gd name="connsiteX7" fmla="*/ 178721 w 647458"/>
                <a:gd name="connsiteY7" fmla="*/ 530129 h 566880"/>
                <a:gd name="connsiteX8" fmla="*/ 603774 w 647458"/>
                <a:gd name="connsiteY8" fmla="*/ 274215 h 566880"/>
                <a:gd name="connsiteX9" fmla="*/ 647458 w 647458"/>
                <a:gd name="connsiteY9" fmla="*/ 237555 h 566880"/>
                <a:gd name="connsiteX10" fmla="*/ 638175 w 647458"/>
                <a:gd name="connsiteY10" fmla="*/ 241125 h 566880"/>
                <a:gd name="connsiteX11" fmla="*/ 591503 w 647458"/>
                <a:gd name="connsiteY11" fmla="*/ 169688 h 566880"/>
                <a:gd name="connsiteX12" fmla="*/ 325755 w 647458"/>
                <a:gd name="connsiteY12" fmla="*/ 3000 h 56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7458" h="566880">
                  <a:moveTo>
                    <a:pt x="325755" y="3000"/>
                  </a:moveTo>
                  <a:cubicBezTo>
                    <a:pt x="261937" y="17288"/>
                    <a:pt x="197167" y="47768"/>
                    <a:pt x="143828" y="86820"/>
                  </a:cubicBezTo>
                  <a:cubicBezTo>
                    <a:pt x="47625" y="156353"/>
                    <a:pt x="35242" y="262080"/>
                    <a:pt x="59055" y="369713"/>
                  </a:cubicBezTo>
                  <a:cubicBezTo>
                    <a:pt x="72390" y="427815"/>
                    <a:pt x="60960" y="470678"/>
                    <a:pt x="20003" y="510683"/>
                  </a:cubicBezTo>
                  <a:cubicBezTo>
                    <a:pt x="11430" y="519255"/>
                    <a:pt x="6667" y="533543"/>
                    <a:pt x="0" y="544973"/>
                  </a:cubicBezTo>
                  <a:cubicBezTo>
                    <a:pt x="15240" y="552593"/>
                    <a:pt x="29528" y="566880"/>
                    <a:pt x="43815" y="566880"/>
                  </a:cubicBezTo>
                  <a:lnTo>
                    <a:pt x="65495" y="564618"/>
                  </a:lnTo>
                  <a:lnTo>
                    <a:pt x="178721" y="530129"/>
                  </a:lnTo>
                  <a:cubicBezTo>
                    <a:pt x="449670" y="395635"/>
                    <a:pt x="455226" y="398414"/>
                    <a:pt x="603774" y="274215"/>
                  </a:cubicBezTo>
                  <a:lnTo>
                    <a:pt x="647458" y="237555"/>
                  </a:lnTo>
                  <a:lnTo>
                    <a:pt x="638175" y="241125"/>
                  </a:lnTo>
                  <a:cubicBezTo>
                    <a:pt x="622935" y="217313"/>
                    <a:pt x="601980" y="195405"/>
                    <a:pt x="591503" y="169688"/>
                  </a:cubicBezTo>
                  <a:cubicBezTo>
                    <a:pt x="553403" y="74438"/>
                    <a:pt x="421005" y="-17955"/>
                    <a:pt x="325755" y="3000"/>
                  </a:cubicBezTo>
                  <a:close/>
                </a:path>
              </a:pathLst>
            </a:custGeom>
            <a:solidFill>
              <a:srgbClr val="F16621"/>
            </a:solidFill>
            <a:ln w="9525" cap="flat">
              <a:noFill/>
              <a:prstDash val="solid"/>
              <a:miter/>
            </a:ln>
          </p:spPr>
          <p:txBody>
            <a:bodyPr rtlCol="0" anchor="ct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grpSp>
      <p:pic>
        <p:nvPicPr>
          <p:cNvPr id="12" name="Picture 11" descr="Shape, circle&#10;&#10;Description automatically generated">
            <a:extLst>
              <a:ext uri="{FF2B5EF4-FFF2-40B4-BE49-F238E27FC236}">
                <a16:creationId xmlns:a16="http://schemas.microsoft.com/office/drawing/2014/main" id="{627EFECA-0C9E-4802-91FD-DD87BF7B8685}"/>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9643" t="12007" r="9780" b="19013"/>
          <a:stretch/>
        </p:blipFill>
        <p:spPr>
          <a:xfrm>
            <a:off x="5025178" y="5328473"/>
            <a:ext cx="516493" cy="477523"/>
          </a:xfrm>
          <a:prstGeom prst="rect">
            <a:avLst/>
          </a:prstGeom>
        </p:spPr>
      </p:pic>
      <p:pic>
        <p:nvPicPr>
          <p:cNvPr id="14" name="Picture 13" descr="Logo&#10;&#10;Description automatically generated with medium confidence">
            <a:extLst>
              <a:ext uri="{FF2B5EF4-FFF2-40B4-BE49-F238E27FC236}">
                <a16:creationId xmlns:a16="http://schemas.microsoft.com/office/drawing/2014/main" id="{8131E1CF-B51D-49FB-A9C6-AA4BB4437D12}"/>
              </a:ext>
            </a:extLst>
          </p:cNvPr>
          <p:cNvPicPr>
            <a:picLocks noChangeAspect="1"/>
          </p:cNvPicPr>
          <p:nvPr/>
        </p:nvPicPr>
        <p:blipFill rotWithShape="1">
          <a:blip r:embed="rId4">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l="19724" t="25889" r="19881" b="30284"/>
          <a:stretch/>
        </p:blipFill>
        <p:spPr>
          <a:xfrm>
            <a:off x="4980592" y="4239378"/>
            <a:ext cx="605665" cy="474666"/>
          </a:xfrm>
          <a:prstGeom prst="rect">
            <a:avLst/>
          </a:prstGeom>
        </p:spPr>
      </p:pic>
      <p:pic>
        <p:nvPicPr>
          <p:cNvPr id="17" name="Picture 16" descr="A picture containing text, clipart&#10;&#10;Description automatically generated">
            <a:extLst>
              <a:ext uri="{FF2B5EF4-FFF2-40B4-BE49-F238E27FC236}">
                <a16:creationId xmlns:a16="http://schemas.microsoft.com/office/drawing/2014/main" id="{273B9899-A436-4A43-8FCC-41305FC36C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36371" y="2179846"/>
            <a:ext cx="694107" cy="266287"/>
          </a:xfrm>
          <a:prstGeom prst="rect">
            <a:avLst/>
          </a:prstGeom>
        </p:spPr>
      </p:pic>
      <p:pic>
        <p:nvPicPr>
          <p:cNvPr id="60" name="Picture 59" descr="Logo&#10;&#10;Description automatically generated">
            <a:extLst>
              <a:ext uri="{FF2B5EF4-FFF2-40B4-BE49-F238E27FC236}">
                <a16:creationId xmlns:a16="http://schemas.microsoft.com/office/drawing/2014/main" id="{51BE64DF-7BF9-4C18-95A8-8F2A1E6B69D2}"/>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b="32940"/>
          <a:stretch/>
        </p:blipFill>
        <p:spPr>
          <a:xfrm>
            <a:off x="741801" y="6034531"/>
            <a:ext cx="1689616" cy="513274"/>
          </a:xfrm>
          <a:prstGeom prst="rect">
            <a:avLst/>
          </a:prstGeom>
        </p:spPr>
      </p:pic>
      <p:pic>
        <p:nvPicPr>
          <p:cNvPr id="3" name="Picture 2">
            <a:extLst>
              <a:ext uri="{FF2B5EF4-FFF2-40B4-BE49-F238E27FC236}">
                <a16:creationId xmlns:a16="http://schemas.microsoft.com/office/drawing/2014/main" id="{C2617563-984D-555E-B403-F076AB97349C}"/>
              </a:ext>
            </a:extLst>
          </p:cNvPr>
          <p:cNvPicPr>
            <a:picLocks noChangeAspect="1"/>
          </p:cNvPicPr>
          <p:nvPr/>
        </p:nvPicPr>
        <p:blipFill>
          <a:blip r:embed="rId7"/>
          <a:stretch>
            <a:fillRect/>
          </a:stretch>
        </p:blipFill>
        <p:spPr>
          <a:xfrm>
            <a:off x="4879331" y="3251779"/>
            <a:ext cx="828000" cy="196179"/>
          </a:xfrm>
          <a:prstGeom prst="rect">
            <a:avLst/>
          </a:prstGeom>
        </p:spPr>
      </p:pic>
    </p:spTree>
    <p:extLst>
      <p:ext uri="{BB962C8B-B14F-4D97-AF65-F5344CB8AC3E}">
        <p14:creationId xmlns:p14="http://schemas.microsoft.com/office/powerpoint/2010/main" val="73275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ome Depot Store Associates Share Insider Knowledge">
            <a:extLst>
              <a:ext uri="{FF2B5EF4-FFF2-40B4-BE49-F238E27FC236}">
                <a16:creationId xmlns:a16="http://schemas.microsoft.com/office/drawing/2014/main" id="{3F52EA86-1EB1-469E-A887-50F7ADE6C278}"/>
              </a:ext>
            </a:extLst>
          </p:cNvPr>
          <p:cNvPicPr>
            <a:picLocks noChangeAspect="1" noChangeArrowheads="1"/>
          </p:cNvPicPr>
          <p:nvPr/>
        </p:nvPicPr>
        <p:blipFill>
          <a:blip r:embed="rId2">
            <a:alphaModFix amt="85000"/>
            <a:extLst>
              <a:ext uri="{28A0092B-C50C-407E-A947-70E740481C1C}">
                <a14:useLocalDpi xmlns:a14="http://schemas.microsoft.com/office/drawing/2010/main" val="0"/>
              </a:ext>
            </a:extLst>
          </a:blip>
          <a:srcRect/>
          <a:stretch>
            <a:fillRect/>
          </a:stretch>
        </p:blipFill>
        <p:spPr bwMode="auto">
          <a:xfrm>
            <a:off x="406400" y="970193"/>
            <a:ext cx="5366644" cy="402793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392180E1-7B18-4312-9EC6-FB9F16F76496}"/>
              </a:ext>
            </a:extLst>
          </p:cNvPr>
          <p:cNvSpPr txBox="1"/>
          <p:nvPr/>
        </p:nvSpPr>
        <p:spPr>
          <a:xfrm>
            <a:off x="5767090" y="934005"/>
            <a:ext cx="399239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A5B5C"/>
                </a:solidFill>
                <a:effectLst/>
                <a:uLnTx/>
                <a:uFillTx/>
                <a:latin typeface="Arial Nova Cond" panose="020B0506020202020204" pitchFamily="34" charset="0"/>
                <a:ea typeface="+mn-ea"/>
                <a:cs typeface="+mn-cs"/>
              </a:rPr>
              <a:t>Order Fulfillment Process</a:t>
            </a:r>
            <a:endParaRPr kumimoji="0" lang="en-CA" sz="2400" b="1" i="0" u="none" strike="noStrike" kern="1200" cap="none" spc="0" normalizeH="0" baseline="0" noProof="0" dirty="0">
              <a:ln>
                <a:noFill/>
              </a:ln>
              <a:solidFill>
                <a:srgbClr val="5A5B5C"/>
              </a:solidFill>
              <a:effectLst/>
              <a:uLnTx/>
              <a:uFillTx/>
              <a:latin typeface="Arial Nova Cond" panose="020B0506020202020204" pitchFamily="34" charset="0"/>
              <a:ea typeface="+mn-ea"/>
              <a:cs typeface="+mn-cs"/>
            </a:endParaRPr>
          </a:p>
        </p:txBody>
      </p:sp>
      <p:sp>
        <p:nvSpPr>
          <p:cNvPr id="12" name="TextBox 11">
            <a:extLst>
              <a:ext uri="{FF2B5EF4-FFF2-40B4-BE49-F238E27FC236}">
                <a16:creationId xmlns:a16="http://schemas.microsoft.com/office/drawing/2014/main" id="{CBF8D85C-40BA-4ED2-A4D4-863E341C4B6E}"/>
              </a:ext>
            </a:extLst>
          </p:cNvPr>
          <p:cNvSpPr txBox="1"/>
          <p:nvPr/>
        </p:nvSpPr>
        <p:spPr>
          <a:xfrm>
            <a:off x="5767090" y="1313263"/>
            <a:ext cx="45086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16621"/>
                </a:solidFill>
                <a:effectLst/>
                <a:uLnTx/>
                <a:uFillTx/>
                <a:latin typeface="Arial Nova Cond" panose="020B0506020202020204" pitchFamily="34" charset="0"/>
                <a:ea typeface="+mn-ea"/>
                <a:cs typeface="+mn-cs"/>
              </a:rPr>
              <a:t>We do the work to save </a:t>
            </a:r>
            <a:r>
              <a:rPr kumimoji="0" lang="en-US" sz="1600" b="1" i="0" u="none" strike="noStrike" kern="1200" cap="none" spc="0" normalizeH="0" baseline="0" noProof="0" dirty="0">
                <a:ln>
                  <a:noFill/>
                </a:ln>
                <a:solidFill>
                  <a:srgbClr val="F16621"/>
                </a:solidFill>
                <a:effectLst/>
                <a:uLnTx/>
                <a:uFillTx/>
                <a:latin typeface="Arial Nova Cond" panose="020B0506020202020204" pitchFamily="34" charset="0"/>
                <a:ea typeface="+mn-ea"/>
                <a:cs typeface="+mn-cs"/>
              </a:rPr>
              <a:t>YOU</a:t>
            </a:r>
            <a:r>
              <a:rPr kumimoji="0" lang="en-US" sz="1600" b="0" i="0" u="none" strike="noStrike" kern="1200" cap="none" spc="0" normalizeH="0" baseline="0" noProof="0" dirty="0">
                <a:ln>
                  <a:noFill/>
                </a:ln>
                <a:solidFill>
                  <a:srgbClr val="F16621"/>
                </a:solidFill>
                <a:effectLst/>
                <a:uLnTx/>
                <a:uFillTx/>
                <a:latin typeface="Arial Nova Cond" panose="020B0506020202020204" pitchFamily="34" charset="0"/>
                <a:ea typeface="+mn-ea"/>
                <a:cs typeface="+mn-cs"/>
              </a:rPr>
              <a:t> Time and Money </a:t>
            </a:r>
            <a:endParaRPr kumimoji="0" lang="en-CA" sz="1600" b="0" i="0" u="none" strike="noStrike" kern="1200" cap="none" spc="0" normalizeH="0" baseline="0" noProof="0" dirty="0">
              <a:ln>
                <a:noFill/>
              </a:ln>
              <a:solidFill>
                <a:srgbClr val="F16621"/>
              </a:solidFill>
              <a:effectLst/>
              <a:uLnTx/>
              <a:uFillTx/>
              <a:latin typeface="Arial Nova Cond" panose="020B0506020202020204" pitchFamily="34" charset="0"/>
              <a:ea typeface="+mn-ea"/>
              <a:cs typeface="+mn-cs"/>
            </a:endParaRPr>
          </a:p>
        </p:txBody>
      </p:sp>
      <p:pic>
        <p:nvPicPr>
          <p:cNvPr id="13" name="Picture 12" descr="Logo&#10;&#10;Description automatically generated">
            <a:extLst>
              <a:ext uri="{FF2B5EF4-FFF2-40B4-BE49-F238E27FC236}">
                <a16:creationId xmlns:a16="http://schemas.microsoft.com/office/drawing/2014/main" id="{1BDE63EB-1C10-4EF7-9167-38F0DDAA358D}"/>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b="34422"/>
          <a:stretch/>
        </p:blipFill>
        <p:spPr>
          <a:xfrm>
            <a:off x="5978551" y="2181668"/>
            <a:ext cx="2220045" cy="659503"/>
          </a:xfrm>
          <a:prstGeom prst="rect">
            <a:avLst/>
          </a:prstGeom>
        </p:spPr>
      </p:pic>
      <p:sp>
        <p:nvSpPr>
          <p:cNvPr id="45" name="Callout: Right Arrow 44">
            <a:extLst>
              <a:ext uri="{FF2B5EF4-FFF2-40B4-BE49-F238E27FC236}">
                <a16:creationId xmlns:a16="http://schemas.microsoft.com/office/drawing/2014/main" id="{7AC33124-7794-4830-90EE-3E79C91BAB5C}"/>
              </a:ext>
            </a:extLst>
          </p:cNvPr>
          <p:cNvSpPr/>
          <p:nvPr/>
        </p:nvSpPr>
        <p:spPr>
          <a:xfrm>
            <a:off x="531780" y="4119232"/>
            <a:ext cx="2728337" cy="2130641"/>
          </a:xfrm>
          <a:prstGeom prst="rightArrowCallout">
            <a:avLst>
              <a:gd name="adj1" fmla="val 19167"/>
              <a:gd name="adj2" fmla="val 17083"/>
              <a:gd name="adj3" fmla="val 25834"/>
              <a:gd name="adj4" fmla="val 75714"/>
            </a:avLst>
          </a:prstGeom>
          <a:solidFill>
            <a:schemeClr val="bg1"/>
          </a:solidFill>
          <a:ln w="3175">
            <a:solidFill>
              <a:srgbClr val="5A5B5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Callout: Right Arrow 45">
            <a:extLst>
              <a:ext uri="{FF2B5EF4-FFF2-40B4-BE49-F238E27FC236}">
                <a16:creationId xmlns:a16="http://schemas.microsoft.com/office/drawing/2014/main" id="{6A561A2F-8839-4EB3-883B-6ADF9AB8683F}"/>
              </a:ext>
            </a:extLst>
          </p:cNvPr>
          <p:cNvSpPr/>
          <p:nvPr/>
        </p:nvSpPr>
        <p:spPr>
          <a:xfrm>
            <a:off x="3281577" y="4119232"/>
            <a:ext cx="2728337" cy="2130641"/>
          </a:xfrm>
          <a:prstGeom prst="rightArrowCallout">
            <a:avLst>
              <a:gd name="adj1" fmla="val 19167"/>
              <a:gd name="adj2" fmla="val 17083"/>
              <a:gd name="adj3" fmla="val 25834"/>
              <a:gd name="adj4" fmla="val 75714"/>
            </a:avLst>
          </a:prstGeom>
          <a:solidFill>
            <a:schemeClr val="bg1"/>
          </a:solidFill>
          <a:ln w="3175">
            <a:solidFill>
              <a:srgbClr val="5A5B5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47" name="Callout: Right Arrow 46">
            <a:extLst>
              <a:ext uri="{FF2B5EF4-FFF2-40B4-BE49-F238E27FC236}">
                <a16:creationId xmlns:a16="http://schemas.microsoft.com/office/drawing/2014/main" id="{7F4D96D8-98BD-4873-972F-45F2003C7DCD}"/>
              </a:ext>
            </a:extLst>
          </p:cNvPr>
          <p:cNvSpPr/>
          <p:nvPr/>
        </p:nvSpPr>
        <p:spPr>
          <a:xfrm>
            <a:off x="6031374" y="4119232"/>
            <a:ext cx="2728337" cy="2130641"/>
          </a:xfrm>
          <a:prstGeom prst="rightArrowCallout">
            <a:avLst>
              <a:gd name="adj1" fmla="val 19167"/>
              <a:gd name="adj2" fmla="val 17083"/>
              <a:gd name="adj3" fmla="val 25834"/>
              <a:gd name="adj4" fmla="val 75714"/>
            </a:avLst>
          </a:prstGeom>
          <a:solidFill>
            <a:schemeClr val="bg1"/>
          </a:solidFill>
          <a:ln w="3175">
            <a:solidFill>
              <a:srgbClr val="5A5B5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Callout: Right Arrow 47">
            <a:extLst>
              <a:ext uri="{FF2B5EF4-FFF2-40B4-BE49-F238E27FC236}">
                <a16:creationId xmlns:a16="http://schemas.microsoft.com/office/drawing/2014/main" id="{C66D583D-4378-49DB-9950-6C26382A6F6A}"/>
              </a:ext>
            </a:extLst>
          </p:cNvPr>
          <p:cNvSpPr/>
          <p:nvPr/>
        </p:nvSpPr>
        <p:spPr>
          <a:xfrm>
            <a:off x="8781171" y="4119232"/>
            <a:ext cx="2728337" cy="2130641"/>
          </a:xfrm>
          <a:prstGeom prst="rightArrowCallout">
            <a:avLst>
              <a:gd name="adj1" fmla="val 19167"/>
              <a:gd name="adj2" fmla="val 17083"/>
              <a:gd name="adj3" fmla="val 25834"/>
              <a:gd name="adj4" fmla="val 75714"/>
            </a:avLst>
          </a:prstGeom>
          <a:solidFill>
            <a:schemeClr val="bg1"/>
          </a:solidFill>
          <a:ln w="3175">
            <a:solidFill>
              <a:srgbClr val="5A5B5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BE5840D9-9CE2-44A4-9644-E1760F133403}"/>
              </a:ext>
            </a:extLst>
          </p:cNvPr>
          <p:cNvSpPr txBox="1"/>
          <p:nvPr/>
        </p:nvSpPr>
        <p:spPr>
          <a:xfrm>
            <a:off x="885032" y="4892164"/>
            <a:ext cx="118403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F58220"/>
                </a:solidFill>
                <a:effectLst/>
                <a:uLnTx/>
                <a:uFillTx/>
                <a:latin typeface="Arial Nova Cond" panose="020B0506020202020204" pitchFamily="34" charset="0"/>
                <a:ea typeface="+mn-ea"/>
                <a:cs typeface="+mn-cs"/>
              </a:rPr>
              <a:t>Inquiry Received</a:t>
            </a:r>
            <a:endParaRPr kumimoji="0" lang="en-CA" sz="1600" b="1" i="0" u="none" strike="noStrike" kern="1200" cap="all" spc="0" normalizeH="0" baseline="0" noProof="0" dirty="0">
              <a:ln>
                <a:noFill/>
              </a:ln>
              <a:solidFill>
                <a:srgbClr val="F58220"/>
              </a:solidFill>
              <a:effectLst/>
              <a:uLnTx/>
              <a:uFillTx/>
              <a:latin typeface="Arial Nova Cond" panose="020B0506020202020204" pitchFamily="34" charset="0"/>
              <a:ea typeface="+mn-ea"/>
              <a:cs typeface="+mn-cs"/>
            </a:endParaRPr>
          </a:p>
        </p:txBody>
      </p:sp>
      <p:sp>
        <p:nvSpPr>
          <p:cNvPr id="16" name="TextBox 15">
            <a:extLst>
              <a:ext uri="{FF2B5EF4-FFF2-40B4-BE49-F238E27FC236}">
                <a16:creationId xmlns:a16="http://schemas.microsoft.com/office/drawing/2014/main" id="{B73C135D-B141-4FD7-94C3-3EB55EED8EF0}"/>
              </a:ext>
            </a:extLst>
          </p:cNvPr>
          <p:cNvSpPr txBox="1"/>
          <p:nvPr/>
        </p:nvSpPr>
        <p:spPr>
          <a:xfrm>
            <a:off x="3613369" y="4872091"/>
            <a:ext cx="1368796"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rPr>
              <a:t>Recommend &amp; Develop Product Assortment </a:t>
            </a:r>
            <a:endParaRPr kumimoji="0" lang="en-CA"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endParaRPr>
          </a:p>
        </p:txBody>
      </p:sp>
      <p:sp>
        <p:nvSpPr>
          <p:cNvPr id="17" name="TextBox 16">
            <a:extLst>
              <a:ext uri="{FF2B5EF4-FFF2-40B4-BE49-F238E27FC236}">
                <a16:creationId xmlns:a16="http://schemas.microsoft.com/office/drawing/2014/main" id="{7CB676B3-8DE0-48A5-8220-E7A1CE4D0BD5}"/>
              </a:ext>
            </a:extLst>
          </p:cNvPr>
          <p:cNvSpPr txBox="1"/>
          <p:nvPr/>
        </p:nvSpPr>
        <p:spPr>
          <a:xfrm>
            <a:off x="6341706" y="4476665"/>
            <a:ext cx="138975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F58220"/>
                </a:solidFill>
                <a:effectLst/>
                <a:uLnTx/>
                <a:uFillTx/>
                <a:latin typeface="Arial Nova Cond" panose="020B0506020202020204" pitchFamily="34" charset="0"/>
                <a:ea typeface="+mn-ea"/>
                <a:cs typeface="+mn-cs"/>
              </a:rPr>
              <a:t>Product order form received</a:t>
            </a:r>
            <a:endParaRPr kumimoji="0" lang="en-CA" sz="1600" b="1" i="0" u="none" strike="noStrike" kern="1200" cap="all" spc="0" normalizeH="0" baseline="0" noProof="0" dirty="0">
              <a:ln>
                <a:noFill/>
              </a:ln>
              <a:solidFill>
                <a:srgbClr val="F58220"/>
              </a:solidFill>
              <a:effectLst/>
              <a:uLnTx/>
              <a:uFillTx/>
              <a:latin typeface="Arial Nova Cond" panose="020B0506020202020204" pitchFamily="34" charset="0"/>
              <a:ea typeface="+mn-ea"/>
              <a:cs typeface="+mn-cs"/>
            </a:endParaRPr>
          </a:p>
        </p:txBody>
      </p:sp>
      <p:sp>
        <p:nvSpPr>
          <p:cNvPr id="18" name="TextBox 17">
            <a:extLst>
              <a:ext uri="{FF2B5EF4-FFF2-40B4-BE49-F238E27FC236}">
                <a16:creationId xmlns:a16="http://schemas.microsoft.com/office/drawing/2014/main" id="{F02CF07C-9D13-4076-9D2F-426546790965}"/>
              </a:ext>
            </a:extLst>
          </p:cNvPr>
          <p:cNvSpPr txBox="1"/>
          <p:nvPr/>
        </p:nvSpPr>
        <p:spPr>
          <a:xfrm>
            <a:off x="6444565" y="5341558"/>
            <a:ext cx="118403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F58220"/>
                </a:solidFill>
                <a:effectLst/>
                <a:uLnTx/>
                <a:uFillTx/>
                <a:latin typeface="Arial Nova Cond" panose="020B0506020202020204" pitchFamily="34" charset="0"/>
                <a:ea typeface="+mn-ea"/>
                <a:cs typeface="+mn-cs"/>
              </a:rPr>
              <a:t>Process Sale</a:t>
            </a:r>
            <a:endParaRPr kumimoji="0" lang="en-CA" sz="1600" b="1" i="0" u="none" strike="noStrike" kern="1200" cap="all" spc="0" normalizeH="0" baseline="0" noProof="0" dirty="0">
              <a:ln>
                <a:noFill/>
              </a:ln>
              <a:solidFill>
                <a:srgbClr val="F58220"/>
              </a:solidFill>
              <a:effectLst/>
              <a:uLnTx/>
              <a:uFillTx/>
              <a:latin typeface="Arial Nova Cond" panose="020B0506020202020204" pitchFamily="34" charset="0"/>
              <a:ea typeface="+mn-ea"/>
              <a:cs typeface="+mn-cs"/>
            </a:endParaRPr>
          </a:p>
        </p:txBody>
      </p:sp>
      <p:sp>
        <p:nvSpPr>
          <p:cNvPr id="19" name="TextBox 18">
            <a:extLst>
              <a:ext uri="{FF2B5EF4-FFF2-40B4-BE49-F238E27FC236}">
                <a16:creationId xmlns:a16="http://schemas.microsoft.com/office/drawing/2014/main" id="{46FC4CE7-763C-4E92-A01B-2F3F13DFBEF4}"/>
              </a:ext>
            </a:extLst>
          </p:cNvPr>
          <p:cNvSpPr txBox="1"/>
          <p:nvPr/>
        </p:nvSpPr>
        <p:spPr>
          <a:xfrm>
            <a:off x="8929967" y="5306477"/>
            <a:ext cx="165903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rPr>
              <a:t>Co-ordinate Delivery</a:t>
            </a:r>
            <a:endParaRPr kumimoji="0" lang="en-CA"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endParaRPr>
          </a:p>
        </p:txBody>
      </p:sp>
      <p:sp>
        <p:nvSpPr>
          <p:cNvPr id="20" name="TextBox 19">
            <a:extLst>
              <a:ext uri="{FF2B5EF4-FFF2-40B4-BE49-F238E27FC236}">
                <a16:creationId xmlns:a16="http://schemas.microsoft.com/office/drawing/2014/main" id="{01B1F1CD-4DC7-442D-A24F-94D8ADB4BCC5}"/>
              </a:ext>
            </a:extLst>
          </p:cNvPr>
          <p:cNvSpPr txBox="1"/>
          <p:nvPr/>
        </p:nvSpPr>
        <p:spPr>
          <a:xfrm>
            <a:off x="8929967" y="4476665"/>
            <a:ext cx="165903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rPr>
              <a:t>Track completion</a:t>
            </a:r>
            <a:endParaRPr kumimoji="0" lang="en-CA"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endParaRPr>
          </a:p>
        </p:txBody>
      </p:sp>
      <p:sp>
        <p:nvSpPr>
          <p:cNvPr id="52" name="TextBox 51">
            <a:extLst>
              <a:ext uri="{FF2B5EF4-FFF2-40B4-BE49-F238E27FC236}">
                <a16:creationId xmlns:a16="http://schemas.microsoft.com/office/drawing/2014/main" id="{EBA3DCE6-C989-4133-84BF-0FAD82E2A037}"/>
              </a:ext>
            </a:extLst>
          </p:cNvPr>
          <p:cNvSpPr txBox="1"/>
          <p:nvPr/>
        </p:nvSpPr>
        <p:spPr>
          <a:xfrm>
            <a:off x="372010" y="129121"/>
            <a:ext cx="114479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16621"/>
                </a:solidFill>
                <a:effectLst/>
                <a:uLnTx/>
                <a:uFillTx/>
                <a:latin typeface="Arial" panose="020B0604020202020204" pitchFamily="34" charset="0"/>
                <a:ea typeface="+mn-ea"/>
                <a:cs typeface="Arial" panose="020B0604020202020204" pitchFamily="34" charset="0"/>
              </a:rPr>
              <a:t>Sales Support </a:t>
            </a:r>
            <a:r>
              <a:rPr kumimoji="0" lang="en-US" sz="2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US" sz="2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upporting you through Commercial Team</a:t>
            </a: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pic>
        <p:nvPicPr>
          <p:cNvPr id="53" name="Picture 52">
            <a:extLst>
              <a:ext uri="{FF2B5EF4-FFF2-40B4-BE49-F238E27FC236}">
                <a16:creationId xmlns:a16="http://schemas.microsoft.com/office/drawing/2014/main" id="{076A7C89-F3A8-4A3C-AE19-28E7D751FCF6}"/>
              </a:ext>
            </a:extLst>
          </p:cNvPr>
          <p:cNvPicPr>
            <a:picLocks noChangeAspect="1"/>
          </p:cNvPicPr>
          <p:nvPr/>
        </p:nvPicPr>
        <p:blipFill>
          <a:blip r:embed="rId4"/>
          <a:stretch>
            <a:fillRect/>
          </a:stretch>
        </p:blipFill>
        <p:spPr>
          <a:xfrm>
            <a:off x="8404103" y="1994887"/>
            <a:ext cx="2890580" cy="1555391"/>
          </a:xfrm>
          <a:prstGeom prst="rect">
            <a:avLst/>
          </a:pr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pic>
    </p:spTree>
    <p:extLst>
      <p:ext uri="{BB962C8B-B14F-4D97-AF65-F5344CB8AC3E}">
        <p14:creationId xmlns:p14="http://schemas.microsoft.com/office/powerpoint/2010/main" val="329064003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C57702E-46B3-43F8-8F20-687C3F15FD4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6BDDE3B-6E17-4A89-9F93-DBB317C0A6AD}" type="slidenum">
              <a:rPr kumimoji="0" lang="en-US" sz="900" b="1" i="0" u="none" strike="noStrike" kern="1200" cap="none" spc="0" normalizeH="0" baseline="0" noProof="0" smtClean="0">
                <a:ln>
                  <a:noFill/>
                </a:ln>
                <a:solidFill>
                  <a:srgbClr val="1C1C1C"/>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900" b="1" i="0" u="none" strike="noStrike" kern="1200" cap="none" spc="0" normalizeH="0" baseline="0" noProof="0" dirty="0">
              <a:ln>
                <a:noFill/>
              </a:ln>
              <a:solidFill>
                <a:srgbClr val="1C1C1C"/>
              </a:solidFill>
              <a:effectLst/>
              <a:uLnTx/>
              <a:uFillTx/>
              <a:latin typeface="Arial" panose="020B0604020202020204" pitchFamily="34" charset="0"/>
              <a:ea typeface="+mn-ea"/>
              <a:cs typeface="Arial" panose="020B0604020202020204" pitchFamily="34" charset="0"/>
            </a:endParaRPr>
          </a:p>
        </p:txBody>
      </p:sp>
      <p:pic>
        <p:nvPicPr>
          <p:cNvPr id="8" name="Picture 7" descr="A picture containing floor, building, porch&#10;&#10;Description automatically generated">
            <a:extLst>
              <a:ext uri="{FF2B5EF4-FFF2-40B4-BE49-F238E27FC236}">
                <a16:creationId xmlns:a16="http://schemas.microsoft.com/office/drawing/2014/main" id="{E5E5F7D1-811C-4298-975E-5144BC487F24}"/>
              </a:ext>
            </a:extLst>
          </p:cNvPr>
          <p:cNvPicPr>
            <a:picLocks noChangeAspect="1"/>
          </p:cNvPicPr>
          <p:nvPr/>
        </p:nvPicPr>
        <p:blipFill rotWithShape="1">
          <a:blip r:embed="rId2">
            <a:extLst>
              <a:ext uri="{28A0092B-C50C-407E-A947-70E740481C1C}">
                <a14:useLocalDpi xmlns:a14="http://schemas.microsoft.com/office/drawing/2010/main" val="0"/>
              </a:ext>
            </a:extLst>
          </a:blip>
          <a:srcRect l="14266" r="10119"/>
          <a:stretch/>
        </p:blipFill>
        <p:spPr>
          <a:xfrm>
            <a:off x="5424256" y="763481"/>
            <a:ext cx="6569475" cy="4873840"/>
          </a:xfrm>
          <a:prstGeom prst="rect">
            <a:avLst/>
          </a:prstGeom>
        </p:spPr>
      </p:pic>
      <p:sp>
        <p:nvSpPr>
          <p:cNvPr id="10" name="Rectangle 9">
            <a:extLst>
              <a:ext uri="{FF2B5EF4-FFF2-40B4-BE49-F238E27FC236}">
                <a16:creationId xmlns:a16="http://schemas.microsoft.com/office/drawing/2014/main" id="{28FE0448-5064-4049-B283-F268E8E3AD5C}"/>
              </a:ext>
            </a:extLst>
          </p:cNvPr>
          <p:cNvSpPr/>
          <p:nvPr/>
        </p:nvSpPr>
        <p:spPr>
          <a:xfrm>
            <a:off x="2873543" y="3952540"/>
            <a:ext cx="2309375" cy="1894384"/>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3C1061D2-A37C-4B3C-ADFF-9BA5BB78E7A8}"/>
              </a:ext>
            </a:extLst>
          </p:cNvPr>
          <p:cNvSpPr/>
          <p:nvPr/>
        </p:nvSpPr>
        <p:spPr>
          <a:xfrm>
            <a:off x="135062" y="3952540"/>
            <a:ext cx="2309375" cy="1894384"/>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D112C555-9902-442C-8D60-9DFDA1EE7EBE}"/>
              </a:ext>
            </a:extLst>
          </p:cNvPr>
          <p:cNvSpPr txBox="1"/>
          <p:nvPr/>
        </p:nvSpPr>
        <p:spPr>
          <a:xfrm>
            <a:off x="515798" y="1128024"/>
            <a:ext cx="4874314" cy="233910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8E8E8">
                    <a:lumMod val="50000"/>
                  </a:srgbClr>
                </a:solidFill>
                <a:effectLst/>
                <a:uLnTx/>
                <a:uFillTx/>
                <a:latin typeface="Arial Nova Cond" panose="020B0506020202020204" pitchFamily="34" charset="0"/>
                <a:ea typeface="+mn-ea"/>
                <a:cs typeface="+mn-cs"/>
              </a:rPr>
              <a:t>Member Projects and Product Assort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sp>
        <p:nvSpPr>
          <p:cNvPr id="22" name="Title 4">
            <a:extLst>
              <a:ext uri="{FF2B5EF4-FFF2-40B4-BE49-F238E27FC236}">
                <a16:creationId xmlns:a16="http://schemas.microsoft.com/office/drawing/2014/main" id="{54DC1726-C6F6-44EF-BCF8-A6795D50F10C}"/>
              </a:ext>
            </a:extLst>
          </p:cNvPr>
          <p:cNvSpPr txBox="1">
            <a:spLocks noGrp="1"/>
          </p:cNvSpPr>
          <p:nvPr>
            <p:ph type="title"/>
          </p:nvPr>
        </p:nvSpPr>
        <p:spPr>
          <a:xfrm>
            <a:off x="390525" y="119390"/>
            <a:ext cx="10972800" cy="523220"/>
          </a:xfrm>
          <a:prstGeom prst="rect">
            <a:avLst/>
          </a:prstGeom>
          <a:noFill/>
        </p:spPr>
        <p:txBody>
          <a:bodyPr wrap="square">
            <a:spAutoFit/>
          </a:bodyPr>
          <a:lstStyle/>
          <a:p>
            <a:r>
              <a:rPr kumimoji="0" lang="en-US" sz="2800" b="1" i="0" u="none" strike="noStrike" kern="1200" cap="none" spc="0" normalizeH="0" baseline="0" noProof="0" dirty="0">
                <a:ln>
                  <a:noFill/>
                </a:ln>
                <a:solidFill>
                  <a:srgbClr val="F16621"/>
                </a:solidFill>
                <a:effectLst/>
                <a:uLnTx/>
                <a:uFillTx/>
                <a:latin typeface="Arial" panose="020B0604020202020204" pitchFamily="34" charset="0"/>
                <a:ea typeface="+mj-ea"/>
                <a:cs typeface="Arial" panose="020B0604020202020204" pitchFamily="34" charset="0"/>
              </a:rPr>
              <a:t>Bulk and Volume Programs </a:t>
            </a:r>
            <a:r>
              <a:rPr kumimoji="0" lang="en-US" sz="2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j-ea"/>
                <a:cs typeface="Arial" panose="020B0604020202020204" pitchFamily="34" charset="0"/>
              </a:rPr>
              <a:t>| </a:t>
            </a:r>
            <a:r>
              <a:rPr kumimoji="0" lang="en-US" sz="2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j-ea"/>
                <a:cs typeface="Arial" panose="020B0604020202020204" pitchFamily="34" charset="0"/>
              </a:rPr>
              <a:t>Save Time and Money </a:t>
            </a:r>
            <a:endParaRPr lang="en-CA" b="0" dirty="0"/>
          </a:p>
        </p:txBody>
      </p:sp>
      <p:pic>
        <p:nvPicPr>
          <p:cNvPr id="24" name="Picture 23">
            <a:extLst>
              <a:ext uri="{FF2B5EF4-FFF2-40B4-BE49-F238E27FC236}">
                <a16:creationId xmlns:a16="http://schemas.microsoft.com/office/drawing/2014/main" id="{367D0BCA-C1C2-462C-9585-1156D6EA7B2F}"/>
              </a:ext>
            </a:extLst>
          </p:cNvPr>
          <p:cNvPicPr>
            <a:picLocks noChangeAspect="1"/>
          </p:cNvPicPr>
          <p:nvPr/>
        </p:nvPicPr>
        <p:blipFill>
          <a:blip r:embed="rId3"/>
          <a:stretch>
            <a:fillRect/>
          </a:stretch>
        </p:blipFill>
        <p:spPr>
          <a:xfrm>
            <a:off x="2952955" y="4290283"/>
            <a:ext cx="2205291" cy="1319854"/>
          </a:xfrm>
          <a:prstGeom prst="rect">
            <a:avLst/>
          </a:prstGeom>
        </p:spPr>
      </p:pic>
      <p:sp>
        <p:nvSpPr>
          <p:cNvPr id="25" name="TextBox 24">
            <a:extLst>
              <a:ext uri="{FF2B5EF4-FFF2-40B4-BE49-F238E27FC236}">
                <a16:creationId xmlns:a16="http://schemas.microsoft.com/office/drawing/2014/main" id="{740BBAD0-8983-47CF-B5B1-EE6612A1A845}"/>
              </a:ext>
            </a:extLst>
          </p:cNvPr>
          <p:cNvSpPr txBox="1"/>
          <p:nvPr/>
        </p:nvSpPr>
        <p:spPr>
          <a:xfrm>
            <a:off x="3325974" y="4032202"/>
            <a:ext cx="137603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rPr>
              <a:t>Appliances</a:t>
            </a:r>
            <a:endParaRPr kumimoji="0" lang="en-CA"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endParaRPr>
          </a:p>
        </p:txBody>
      </p:sp>
      <p:sp>
        <p:nvSpPr>
          <p:cNvPr id="26" name="TextBox 25">
            <a:extLst>
              <a:ext uri="{FF2B5EF4-FFF2-40B4-BE49-F238E27FC236}">
                <a16:creationId xmlns:a16="http://schemas.microsoft.com/office/drawing/2014/main" id="{D75CE56A-5597-4266-B703-872230489301}"/>
              </a:ext>
            </a:extLst>
          </p:cNvPr>
          <p:cNvSpPr txBox="1"/>
          <p:nvPr/>
        </p:nvSpPr>
        <p:spPr>
          <a:xfrm>
            <a:off x="592517" y="4125666"/>
            <a:ext cx="142281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rPr>
              <a:t>Power tools</a:t>
            </a:r>
            <a:endParaRPr kumimoji="0" lang="en-CA"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endParaRPr>
          </a:p>
        </p:txBody>
      </p:sp>
      <p:pic>
        <p:nvPicPr>
          <p:cNvPr id="31" name="Picture 30">
            <a:extLst>
              <a:ext uri="{FF2B5EF4-FFF2-40B4-BE49-F238E27FC236}">
                <a16:creationId xmlns:a16="http://schemas.microsoft.com/office/drawing/2014/main" id="{DA1145BC-4A14-459D-AF2D-4D0104823EA7}"/>
              </a:ext>
            </a:extLst>
          </p:cNvPr>
          <p:cNvPicPr>
            <a:picLocks noChangeAspect="1"/>
          </p:cNvPicPr>
          <p:nvPr/>
        </p:nvPicPr>
        <p:blipFill>
          <a:blip r:embed="rId4"/>
          <a:stretch>
            <a:fillRect/>
          </a:stretch>
        </p:blipFill>
        <p:spPr>
          <a:xfrm>
            <a:off x="257744" y="4392452"/>
            <a:ext cx="2134894" cy="1337524"/>
          </a:xfrm>
          <a:prstGeom prst="rect">
            <a:avLst/>
          </a:prstGeom>
        </p:spPr>
      </p:pic>
      <p:sp>
        <p:nvSpPr>
          <p:cNvPr id="20" name="Rectangle 19">
            <a:extLst>
              <a:ext uri="{FF2B5EF4-FFF2-40B4-BE49-F238E27FC236}">
                <a16:creationId xmlns:a16="http://schemas.microsoft.com/office/drawing/2014/main" id="{729EC64A-DE5E-424E-A780-0D79020A337E}"/>
              </a:ext>
            </a:extLst>
          </p:cNvPr>
          <p:cNvSpPr/>
          <p:nvPr/>
        </p:nvSpPr>
        <p:spPr>
          <a:xfrm>
            <a:off x="100593" y="1862290"/>
            <a:ext cx="2309375" cy="1894384"/>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871C436A-8F2C-4462-A9CB-AE138B53D954}"/>
              </a:ext>
            </a:extLst>
          </p:cNvPr>
          <p:cNvSpPr/>
          <p:nvPr/>
        </p:nvSpPr>
        <p:spPr>
          <a:xfrm>
            <a:off x="2848871" y="1884889"/>
            <a:ext cx="2309375" cy="1894384"/>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17633D3B-3C2D-4788-A9CD-98B854C701C4}"/>
              </a:ext>
            </a:extLst>
          </p:cNvPr>
          <p:cNvSpPr txBox="1"/>
          <p:nvPr/>
        </p:nvSpPr>
        <p:spPr>
          <a:xfrm>
            <a:off x="537850" y="2052034"/>
            <a:ext cx="147079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rPr>
              <a:t>Light Bulbs</a:t>
            </a:r>
            <a:endParaRPr kumimoji="0" lang="en-CA"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endParaRPr>
          </a:p>
        </p:txBody>
      </p:sp>
      <p:sp>
        <p:nvSpPr>
          <p:cNvPr id="30" name="TextBox 29">
            <a:extLst>
              <a:ext uri="{FF2B5EF4-FFF2-40B4-BE49-F238E27FC236}">
                <a16:creationId xmlns:a16="http://schemas.microsoft.com/office/drawing/2014/main" id="{4FCB9477-E121-46B1-A9C7-0E01D63D74BB}"/>
              </a:ext>
            </a:extLst>
          </p:cNvPr>
          <p:cNvSpPr txBox="1"/>
          <p:nvPr/>
        </p:nvSpPr>
        <p:spPr>
          <a:xfrm>
            <a:off x="3186412" y="1994650"/>
            <a:ext cx="172659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rPr>
              <a:t>HD Decorating</a:t>
            </a:r>
            <a:endParaRPr kumimoji="0" lang="en-CA" sz="1600" b="1" i="0" u="none" strike="noStrike" kern="1200" cap="all" spc="0" normalizeH="0" baseline="0" noProof="0" dirty="0">
              <a:ln>
                <a:noFill/>
              </a:ln>
              <a:solidFill>
                <a:srgbClr val="5A5B5C"/>
              </a:solidFill>
              <a:effectLst/>
              <a:uLnTx/>
              <a:uFillTx/>
              <a:latin typeface="Arial Nova Cond" panose="020B0506020202020204" pitchFamily="34" charset="0"/>
              <a:ea typeface="+mn-ea"/>
              <a:cs typeface="+mn-cs"/>
            </a:endParaRPr>
          </a:p>
        </p:txBody>
      </p:sp>
      <p:pic>
        <p:nvPicPr>
          <p:cNvPr id="32" name="Picture 31" descr="Logo&#10;&#10;Description automatically generated">
            <a:extLst>
              <a:ext uri="{FF2B5EF4-FFF2-40B4-BE49-F238E27FC236}">
                <a16:creationId xmlns:a16="http://schemas.microsoft.com/office/drawing/2014/main" id="{73143493-1EEE-4D59-9F6B-64469A46B66B}"/>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b="33300"/>
          <a:stretch/>
        </p:blipFill>
        <p:spPr>
          <a:xfrm>
            <a:off x="4583547" y="5928192"/>
            <a:ext cx="2052556" cy="620183"/>
          </a:xfrm>
          <a:prstGeom prst="rect">
            <a:avLst/>
          </a:prstGeom>
        </p:spPr>
      </p:pic>
      <p:pic>
        <p:nvPicPr>
          <p:cNvPr id="14" name="Picture 13">
            <a:extLst>
              <a:ext uri="{FF2B5EF4-FFF2-40B4-BE49-F238E27FC236}">
                <a16:creationId xmlns:a16="http://schemas.microsoft.com/office/drawing/2014/main" id="{E8F40583-9CD3-4250-A2A4-101B0A8C824C}"/>
              </a:ext>
            </a:extLst>
          </p:cNvPr>
          <p:cNvPicPr>
            <a:picLocks noChangeAspect="1"/>
          </p:cNvPicPr>
          <p:nvPr/>
        </p:nvPicPr>
        <p:blipFill>
          <a:blip r:embed="rId6"/>
          <a:stretch>
            <a:fillRect/>
          </a:stretch>
        </p:blipFill>
        <p:spPr>
          <a:xfrm>
            <a:off x="705557" y="2401442"/>
            <a:ext cx="1099443" cy="1073973"/>
          </a:xfrm>
          <a:prstGeom prst="rect">
            <a:avLst/>
          </a:prstGeom>
        </p:spPr>
      </p:pic>
      <p:pic>
        <p:nvPicPr>
          <p:cNvPr id="3" name="Picture 2">
            <a:extLst>
              <a:ext uri="{FF2B5EF4-FFF2-40B4-BE49-F238E27FC236}">
                <a16:creationId xmlns:a16="http://schemas.microsoft.com/office/drawing/2014/main" id="{35B56765-44A0-0A4C-06A6-B73FB44EE76F}"/>
              </a:ext>
            </a:extLst>
          </p:cNvPr>
          <p:cNvPicPr>
            <a:picLocks noChangeAspect="1"/>
          </p:cNvPicPr>
          <p:nvPr/>
        </p:nvPicPr>
        <p:blipFill>
          <a:blip r:embed="rId7"/>
          <a:stretch>
            <a:fillRect/>
          </a:stretch>
        </p:blipFill>
        <p:spPr>
          <a:xfrm>
            <a:off x="3163367" y="2308775"/>
            <a:ext cx="1701251" cy="1259305"/>
          </a:xfrm>
          <a:prstGeom prst="rect">
            <a:avLst/>
          </a:prstGeom>
        </p:spPr>
      </p:pic>
    </p:spTree>
    <p:extLst>
      <p:ext uri="{BB962C8B-B14F-4D97-AF65-F5344CB8AC3E}">
        <p14:creationId xmlns:p14="http://schemas.microsoft.com/office/powerpoint/2010/main" val="1665101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C3BA214-9CC9-448D-9586-D2045CB1AD3D}"/>
              </a:ext>
            </a:extLst>
          </p:cNvPr>
          <p:cNvSpPr txBox="1"/>
          <p:nvPr/>
        </p:nvSpPr>
        <p:spPr>
          <a:xfrm>
            <a:off x="372010" y="129121"/>
            <a:ext cx="114479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58220"/>
                </a:solidFill>
                <a:effectLst/>
                <a:uLnTx/>
                <a:uFillTx/>
                <a:latin typeface="Arial" panose="020B0604020202020204" pitchFamily="34" charset="0"/>
                <a:ea typeface="+mn-ea"/>
                <a:cs typeface="Arial" panose="020B0604020202020204" pitchFamily="34" charset="0"/>
              </a:rPr>
              <a:t>Pro Xtra </a:t>
            </a:r>
            <a:r>
              <a:rPr kumimoji="0" lang="en-US" sz="28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US" sz="28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Pro Business Account </a:t>
            </a: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sp>
        <p:nvSpPr>
          <p:cNvPr id="6" name="TextBox 5">
            <a:extLst>
              <a:ext uri="{FF2B5EF4-FFF2-40B4-BE49-F238E27FC236}">
                <a16:creationId xmlns:a16="http://schemas.microsoft.com/office/drawing/2014/main" id="{4B757744-F74A-4D39-B114-321E1F78262B}"/>
              </a:ext>
            </a:extLst>
          </p:cNvPr>
          <p:cNvSpPr txBox="1"/>
          <p:nvPr/>
        </p:nvSpPr>
        <p:spPr>
          <a:xfrm>
            <a:off x="461429" y="907928"/>
            <a:ext cx="11269141" cy="535531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As a valued member of The Home Depot’s  </a:t>
            </a:r>
            <a:r>
              <a:rPr kumimoji="0" lang="en-US" sz="1800" b="1" i="0" u="none" strike="noStrike" kern="1200" cap="none" spc="0" normalizeH="0" baseline="0" noProof="0" dirty="0">
                <a:ln>
                  <a:noFill/>
                </a:ln>
                <a:solidFill>
                  <a:srgbClr val="F58220"/>
                </a:solidFill>
                <a:effectLst/>
                <a:uLnTx/>
                <a:uFillTx/>
                <a:latin typeface="Arial"/>
                <a:ea typeface="+mn-ea"/>
                <a:cs typeface="+mn-cs"/>
              </a:rPr>
              <a:t>Pro Xtra Program</a:t>
            </a:r>
            <a:r>
              <a:rPr kumimoji="0" lang="en-US"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 we’re excited to share with you the beginning of a truly </a:t>
            </a:r>
            <a:r>
              <a:rPr kumimoji="0" lang="en-US" sz="1800" b="1" i="0" u="none" strike="noStrike" kern="1200" cap="none" spc="0" normalizeH="0" baseline="0" noProof="0" dirty="0">
                <a:ln>
                  <a:noFill/>
                </a:ln>
                <a:solidFill>
                  <a:srgbClr val="F58220"/>
                </a:solidFill>
                <a:effectLst/>
                <a:uLnTx/>
                <a:uFillTx/>
                <a:latin typeface="Arial"/>
                <a:ea typeface="+mn-ea"/>
                <a:cs typeface="+mn-cs"/>
              </a:rPr>
              <a:t>personalized</a:t>
            </a:r>
            <a:r>
              <a:rPr kumimoji="0" lang="en-US" sz="1800" b="0" i="0" u="none" strike="noStrike" kern="1200" cap="none" spc="0" normalizeH="0" baseline="0" noProof="0" dirty="0">
                <a:ln>
                  <a:noFill/>
                </a:ln>
                <a:solidFill>
                  <a:srgbClr val="1C1C1C"/>
                </a:solidFill>
                <a:effectLst/>
                <a:uLnTx/>
                <a:uFillTx/>
                <a:latin typeface="Arial"/>
                <a:ea typeface="+mn-ea"/>
                <a:cs typeface="+mn-cs"/>
              </a:rPr>
              <a:t> </a:t>
            </a:r>
            <a:r>
              <a:rPr kumimoji="0" lang="en-US"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online experience</a:t>
            </a:r>
            <a:r>
              <a:rPr kumimoji="0" lang="en-CA"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 for your business, making it easier to manage the day-to-day purchases made online or in-st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1C1C1C"/>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1C1C1C">
                  <a:lumMod val="75000"/>
                  <a:lumOff val="2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This is a truly </a:t>
            </a:r>
            <a:r>
              <a:rPr kumimoji="0" lang="en-US" sz="1800" b="1" i="0" u="none" strike="noStrike" kern="1200" cap="none" spc="0" normalizeH="0" baseline="0" noProof="0" dirty="0">
                <a:ln>
                  <a:noFill/>
                </a:ln>
                <a:solidFill>
                  <a:srgbClr val="F58220"/>
                </a:solidFill>
                <a:effectLst/>
                <a:uLnTx/>
                <a:uFillTx/>
                <a:latin typeface="Arial"/>
                <a:ea typeface="+mn-ea"/>
                <a:cs typeface="+mn-cs"/>
              </a:rPr>
              <a:t>customized</a:t>
            </a:r>
            <a:r>
              <a:rPr kumimoji="0" lang="en-US" sz="1800" b="0" i="0" u="none" strike="noStrike" kern="1200" cap="none" spc="0" normalizeH="0" baseline="0" noProof="0" dirty="0">
                <a:ln>
                  <a:noFill/>
                </a:ln>
                <a:solidFill>
                  <a:srgbClr val="1C1C1C"/>
                </a:solidFill>
                <a:effectLst/>
                <a:uLnTx/>
                <a:uFillTx/>
                <a:latin typeface="Arial"/>
                <a:ea typeface="+mn-ea"/>
                <a:cs typeface="+mn-cs"/>
              </a:rPr>
              <a:t> </a:t>
            </a:r>
            <a:r>
              <a:rPr kumimoji="0" lang="en-US"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experience based on your industry type, shopping trends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1C1C"/>
              </a:solidFill>
              <a:effectLst/>
              <a:uLnTx/>
              <a:uFillTx/>
              <a:latin typeface="Arial"/>
              <a:ea typeface="+mn-ea"/>
              <a:cs typeface="+mn-cs"/>
            </a:endParaRPr>
          </a:p>
        </p:txBody>
      </p:sp>
      <p:pic>
        <p:nvPicPr>
          <p:cNvPr id="7" name="Picture 6">
            <a:extLst>
              <a:ext uri="{FF2B5EF4-FFF2-40B4-BE49-F238E27FC236}">
                <a16:creationId xmlns:a16="http://schemas.microsoft.com/office/drawing/2014/main" id="{3638D8D8-A051-426B-BCE0-F54AD05690EB}"/>
              </a:ext>
            </a:extLst>
          </p:cNvPr>
          <p:cNvPicPr>
            <a:picLocks noChangeAspect="1"/>
          </p:cNvPicPr>
          <p:nvPr/>
        </p:nvPicPr>
        <p:blipFill rotWithShape="1">
          <a:blip r:embed="rId2"/>
          <a:srcRect l="3159" r="4387"/>
          <a:stretch/>
        </p:blipFill>
        <p:spPr>
          <a:xfrm>
            <a:off x="533401" y="2074544"/>
            <a:ext cx="4648200" cy="3088065"/>
          </a:xfrm>
          <a:prstGeom prst="rect">
            <a:avLst/>
          </a:prstGeom>
        </p:spPr>
      </p:pic>
      <p:sp>
        <p:nvSpPr>
          <p:cNvPr id="8" name="TextBox 7">
            <a:extLst>
              <a:ext uri="{FF2B5EF4-FFF2-40B4-BE49-F238E27FC236}">
                <a16:creationId xmlns:a16="http://schemas.microsoft.com/office/drawing/2014/main" id="{5CB0DEB2-4FDD-4940-A728-9E612C2C0ACA}"/>
              </a:ext>
            </a:extLst>
          </p:cNvPr>
          <p:cNvSpPr txBox="1"/>
          <p:nvPr/>
        </p:nvSpPr>
        <p:spPr>
          <a:xfrm>
            <a:off x="5342373" y="2091688"/>
            <a:ext cx="6934200" cy="31393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58220"/>
                </a:solidFill>
                <a:effectLst/>
                <a:uLnTx/>
                <a:uFillTx/>
                <a:latin typeface="Arial"/>
                <a:ea typeface="+mn-ea"/>
                <a:cs typeface="+mn-cs"/>
              </a:rPr>
              <a:t>What are the benefits of a Pro Business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5822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F16621"/>
              </a:buClr>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666666"/>
                </a:solidFill>
                <a:effectLst/>
                <a:uLnTx/>
                <a:uFillTx/>
                <a:latin typeface="Helvetica Neue"/>
                <a:ea typeface="+mn-ea"/>
                <a:cs typeface="+mn-cs"/>
              </a:rPr>
              <a:t>Purchase Tracking , </a:t>
            </a:r>
            <a:r>
              <a:rPr kumimoji="0" lang="en-US"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View and manage your purchases</a:t>
            </a:r>
          </a:p>
          <a:p>
            <a:pPr marL="285750" marR="0" lvl="0" indent="-285750" algn="l" defTabSz="914400" rtl="0" eaLnBrk="1" fontAlgn="auto" latinLnBrk="0" hangingPunct="1">
              <a:lnSpc>
                <a:spcPct val="100000"/>
              </a:lnSpc>
              <a:spcBef>
                <a:spcPts val="0"/>
              </a:spcBef>
              <a:spcAft>
                <a:spcPts val="0"/>
              </a:spcAft>
              <a:buClr>
                <a:srgbClr val="F16621"/>
              </a:buClr>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Easily re-order the products you buy most</a:t>
            </a:r>
          </a:p>
          <a:p>
            <a:pPr marL="285750" marR="0" lvl="0" indent="-285750" algn="l" defTabSz="914400" rtl="0" eaLnBrk="1" fontAlgn="auto" latinLnBrk="0" hangingPunct="1">
              <a:lnSpc>
                <a:spcPct val="100000"/>
              </a:lnSpc>
              <a:spcBef>
                <a:spcPts val="0"/>
              </a:spcBef>
              <a:spcAft>
                <a:spcPts val="0"/>
              </a:spcAft>
              <a:buClr>
                <a:srgbClr val="F16621"/>
              </a:buClr>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666666"/>
                </a:solidFill>
                <a:effectLst/>
                <a:uLnTx/>
                <a:uFillTx/>
                <a:latin typeface="Helvetica Neue"/>
                <a:ea typeface="+mn-ea"/>
                <a:cs typeface="+mn-cs"/>
              </a:rPr>
              <a:t>Quarterly Rewards on Qualifying Purchases and Qualifying Paint Purchases</a:t>
            </a:r>
          </a:p>
          <a:p>
            <a:pPr marL="285750" marR="0" lvl="0" indent="-285750" algn="l" defTabSz="914400" rtl="0" eaLnBrk="1" fontAlgn="auto" latinLnBrk="0" hangingPunct="1">
              <a:lnSpc>
                <a:spcPct val="100000"/>
              </a:lnSpc>
              <a:spcBef>
                <a:spcPts val="0"/>
              </a:spcBef>
              <a:spcAft>
                <a:spcPts val="0"/>
              </a:spcAft>
              <a:buClr>
                <a:srgbClr val="F16621"/>
              </a:buClr>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Shop our extended assortment</a:t>
            </a:r>
            <a:endParaRPr kumimoji="0" lang="en-US" sz="1800" b="0" i="0" u="none" strike="noStrike" kern="1200" cap="none" spc="0" normalizeH="0" baseline="0" noProof="0" dirty="0">
              <a:ln>
                <a:noFill/>
              </a:ln>
              <a:solidFill>
                <a:srgbClr val="666666"/>
              </a:solidFill>
              <a:effectLst/>
              <a:uLnTx/>
              <a:uFillTx/>
              <a:latin typeface="Helvetica Neue"/>
              <a:ea typeface="+mn-ea"/>
              <a:cs typeface="+mn-cs"/>
            </a:endParaRPr>
          </a:p>
          <a:p>
            <a:pPr marL="285750" marR="0" lvl="0" indent="-285750" algn="l" defTabSz="914400" rtl="0" eaLnBrk="1" fontAlgn="auto" latinLnBrk="0" hangingPunct="1">
              <a:lnSpc>
                <a:spcPct val="100000"/>
              </a:lnSpc>
              <a:spcBef>
                <a:spcPts val="0"/>
              </a:spcBef>
              <a:spcAft>
                <a:spcPts val="0"/>
              </a:spcAft>
              <a:buClr>
                <a:srgbClr val="F16621"/>
              </a:buClr>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1C1C1C">
                    <a:lumMod val="75000"/>
                    <a:lumOff val="25000"/>
                  </a:srgbClr>
                </a:solidFill>
                <a:effectLst/>
                <a:uLnTx/>
                <a:uFillTx/>
                <a:latin typeface="Arial"/>
                <a:ea typeface="+mn-ea"/>
                <a:cs typeface="+mn-cs"/>
              </a:rPr>
              <a:t>PLUS, download The Home Depot Mobile App and get these benefits on-the-go!</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spTree>
    <p:extLst>
      <p:ext uri="{BB962C8B-B14F-4D97-AF65-F5344CB8AC3E}">
        <p14:creationId xmlns:p14="http://schemas.microsoft.com/office/powerpoint/2010/main" val="1538561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F4B8B4B-5E2A-4BBE-BD7F-88682FF49A9A}"/>
              </a:ext>
            </a:extLst>
          </p:cNvPr>
          <p:cNvSpPr txBox="1"/>
          <p:nvPr/>
        </p:nvSpPr>
        <p:spPr>
          <a:xfrm>
            <a:off x="450792" y="115605"/>
            <a:ext cx="8924925"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58220"/>
                </a:solidFill>
                <a:effectLst/>
                <a:uLnTx/>
                <a:uFillTx/>
                <a:latin typeface="Arial" panose="020B0604020202020204" pitchFamily="34" charset="0"/>
                <a:ea typeface="+mn-ea"/>
                <a:cs typeface="Arial" panose="020B0604020202020204" pitchFamily="34" charset="0"/>
              </a:rPr>
              <a:t> Pro Xtra ID </a:t>
            </a:r>
            <a:r>
              <a:rPr kumimoji="0" lang="en-US" sz="2800" b="0" i="0" u="none" strike="noStrike" kern="1200" cap="none" spc="0" normalizeH="0" baseline="0" noProof="0" dirty="0">
                <a:ln>
                  <a:noFill/>
                </a:ln>
                <a:solidFill>
                  <a:srgbClr val="1C1C1C">
                    <a:lumMod val="50000"/>
                    <a:lumOff val="50000"/>
                  </a:srgbClr>
                </a:solidFill>
                <a:effectLst/>
                <a:uLnTx/>
                <a:uFillTx/>
                <a:latin typeface="Arial"/>
                <a:ea typeface="+mn-ea"/>
                <a:cs typeface="+mn-cs"/>
              </a:rPr>
              <a:t>| How it works </a:t>
            </a:r>
            <a:r>
              <a:rPr kumimoji="0" lang="en-US" sz="2800" b="1" i="0" u="none" strike="noStrike" kern="1200" cap="none" spc="0" normalizeH="0" baseline="0" noProof="0" dirty="0">
                <a:ln>
                  <a:noFill/>
                </a:ln>
                <a:solidFill>
                  <a:srgbClr val="F58220"/>
                </a:solidFill>
                <a:effectLst/>
                <a:uLnTx/>
                <a:uFillTx/>
                <a:latin typeface="Arial" panose="020B0604020202020204" pitchFamily="34" charset="0"/>
                <a:ea typeface="+mn-ea"/>
                <a:cs typeface="Arial" panose="020B0604020202020204" pitchFamily="34" charset="0"/>
              </a:rPr>
              <a:t>  </a:t>
            </a:r>
            <a:endParaRPr kumimoji="0" lang="en-CA" sz="2800" b="1" i="0" u="none" strike="noStrike" kern="1200" cap="none" spc="0" normalizeH="0" baseline="0" noProof="0" dirty="0">
              <a:ln>
                <a:noFill/>
              </a:ln>
              <a:solidFill>
                <a:srgbClr val="F5822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D4C164BD-7073-4937-A49C-CBA00E603E99}"/>
              </a:ext>
            </a:extLst>
          </p:cNvPr>
          <p:cNvGrpSpPr/>
          <p:nvPr/>
        </p:nvGrpSpPr>
        <p:grpSpPr>
          <a:xfrm>
            <a:off x="449464" y="983742"/>
            <a:ext cx="6370815" cy="4379588"/>
            <a:chOff x="352419" y="1152997"/>
            <a:chExt cx="6170782" cy="4218107"/>
          </a:xfrm>
        </p:grpSpPr>
        <p:sp>
          <p:nvSpPr>
            <p:cNvPr id="6" name="TextBox 5">
              <a:extLst>
                <a:ext uri="{FF2B5EF4-FFF2-40B4-BE49-F238E27FC236}">
                  <a16:creationId xmlns:a16="http://schemas.microsoft.com/office/drawing/2014/main" id="{99ACD662-5F53-4236-9FF7-A81E495463A5}"/>
                </a:ext>
              </a:extLst>
            </p:cNvPr>
            <p:cNvSpPr txBox="1"/>
            <p:nvPr/>
          </p:nvSpPr>
          <p:spPr>
            <a:xfrm>
              <a:off x="400203" y="1543715"/>
              <a:ext cx="6122998" cy="7114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r Pro Xtra ID is the phone number you registered for the program with </a:t>
              </a:r>
            </a:p>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It’s a 10-digit identifier that you should be able to easily recall</a:t>
              </a:r>
            </a:p>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It is unique to you</a:t>
              </a:r>
              <a:endParaRPr kumimoji="0" lang="en-US" sz="1100" b="0" i="0" u="none" strike="noStrike" kern="1200" cap="none" spc="0" normalizeH="0" baseline="0" noProof="0" dirty="0">
                <a:ln>
                  <a:noFill/>
                </a:ln>
                <a:solidFill>
                  <a:srgbClr val="1C1C1C">
                    <a:lumMod val="75000"/>
                    <a:lumOff val="25000"/>
                  </a:srgbClr>
                </a:solidFill>
                <a:effectLst/>
                <a:uLnTx/>
                <a:uFillTx/>
                <a:latin typeface="Arial"/>
                <a:ea typeface="+mn-ea"/>
                <a:cs typeface="+mn-cs"/>
              </a:endParaRPr>
            </a:p>
          </p:txBody>
        </p:sp>
        <p:sp>
          <p:nvSpPr>
            <p:cNvPr id="7" name="TextBox 6">
              <a:extLst>
                <a:ext uri="{FF2B5EF4-FFF2-40B4-BE49-F238E27FC236}">
                  <a16:creationId xmlns:a16="http://schemas.microsoft.com/office/drawing/2014/main" id="{83E3801E-ACC9-4574-961E-CFA3096F9565}"/>
                </a:ext>
              </a:extLst>
            </p:cNvPr>
            <p:cNvSpPr txBox="1"/>
            <p:nvPr/>
          </p:nvSpPr>
          <p:spPr>
            <a:xfrm>
              <a:off x="352420" y="4593717"/>
              <a:ext cx="6122997" cy="2964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endParaRPr>
            </a:p>
          </p:txBody>
        </p:sp>
        <p:sp>
          <p:nvSpPr>
            <p:cNvPr id="9" name="TextBox 8">
              <a:extLst>
                <a:ext uri="{FF2B5EF4-FFF2-40B4-BE49-F238E27FC236}">
                  <a16:creationId xmlns:a16="http://schemas.microsoft.com/office/drawing/2014/main" id="{3A933A8D-0AD1-469D-9892-4ED21CA6FBBA}"/>
                </a:ext>
              </a:extLst>
            </p:cNvPr>
            <p:cNvSpPr txBox="1"/>
            <p:nvPr/>
          </p:nvSpPr>
          <p:spPr>
            <a:xfrm>
              <a:off x="400203" y="1152997"/>
              <a:ext cx="484855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1C1C1C">
                      <a:lumMod val="75000"/>
                      <a:lumOff val="25000"/>
                    </a:srgbClr>
                  </a:solidFill>
                  <a:effectLst/>
                  <a:uLnTx/>
                  <a:uFillTx/>
                  <a:latin typeface="Arial"/>
                  <a:ea typeface="+mn-ea"/>
                  <a:cs typeface="+mn-cs"/>
                </a:rPr>
                <a:t>What is a Pro Xtra ID?</a:t>
              </a:r>
            </a:p>
          </p:txBody>
        </p:sp>
        <p:sp>
          <p:nvSpPr>
            <p:cNvPr id="10" name="TextBox 9">
              <a:extLst>
                <a:ext uri="{FF2B5EF4-FFF2-40B4-BE49-F238E27FC236}">
                  <a16:creationId xmlns:a16="http://schemas.microsoft.com/office/drawing/2014/main" id="{BDA68ED3-1E7B-4B1B-B29B-6A0054BBEF38}"/>
                </a:ext>
              </a:extLst>
            </p:cNvPr>
            <p:cNvSpPr txBox="1"/>
            <p:nvPr/>
          </p:nvSpPr>
          <p:spPr>
            <a:xfrm>
              <a:off x="400203" y="2485432"/>
              <a:ext cx="484855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1C1C1C">
                      <a:lumMod val="75000"/>
                      <a:lumOff val="25000"/>
                    </a:srgbClr>
                  </a:solidFill>
                  <a:effectLst/>
                  <a:uLnTx/>
                  <a:uFillTx/>
                  <a:latin typeface="Arial"/>
                  <a:ea typeface="+mn-ea"/>
                  <a:cs typeface="+mn-cs"/>
                </a:rPr>
                <a:t>Why is my Pro Xtra ID so important?</a:t>
              </a:r>
            </a:p>
          </p:txBody>
        </p:sp>
        <p:sp>
          <p:nvSpPr>
            <p:cNvPr id="11" name="TextBox 10">
              <a:extLst>
                <a:ext uri="{FF2B5EF4-FFF2-40B4-BE49-F238E27FC236}">
                  <a16:creationId xmlns:a16="http://schemas.microsoft.com/office/drawing/2014/main" id="{65CA1516-3A9E-4AFF-B747-D365B66D756A}"/>
                </a:ext>
              </a:extLst>
            </p:cNvPr>
            <p:cNvSpPr txBox="1"/>
            <p:nvPr/>
          </p:nvSpPr>
          <p:spPr>
            <a:xfrm>
              <a:off x="400203" y="2949507"/>
              <a:ext cx="6122998" cy="9541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r Pro Xtra rebate is calculated based on purchases made with your Pro Xtra ID</a:t>
              </a:r>
            </a:p>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 will now earn any way you pay, </a:t>
              </a:r>
              <a:r>
                <a:rPr kumimoji="0" lang="en-US" sz="1400" b="1" i="0" u="sng" strike="noStrike" kern="1200" cap="none" spc="0" normalizeH="0" baseline="0" noProof="0" dirty="0">
                  <a:ln>
                    <a:noFill/>
                  </a:ln>
                  <a:solidFill>
                    <a:srgbClr val="1C1C1C">
                      <a:lumMod val="75000"/>
                      <a:lumOff val="25000"/>
                    </a:srgbClr>
                  </a:solidFill>
                  <a:effectLst/>
                  <a:uLnTx/>
                  <a:uFillTx/>
                  <a:latin typeface="Arial"/>
                  <a:ea typeface="+mn-ea"/>
                  <a:cs typeface="+mn-cs"/>
                </a:rPr>
                <a:t>as long as you use your Pro Xtra ID to make Qualifying Purchases</a:t>
              </a:r>
            </a:p>
          </p:txBody>
        </p:sp>
        <p:sp>
          <p:nvSpPr>
            <p:cNvPr id="12" name="TextBox 11">
              <a:extLst>
                <a:ext uri="{FF2B5EF4-FFF2-40B4-BE49-F238E27FC236}">
                  <a16:creationId xmlns:a16="http://schemas.microsoft.com/office/drawing/2014/main" id="{AE79A58D-DB5B-445C-AC3D-19A6FD93B27B}"/>
                </a:ext>
              </a:extLst>
            </p:cNvPr>
            <p:cNvSpPr txBox="1"/>
            <p:nvPr/>
          </p:nvSpPr>
          <p:spPr>
            <a:xfrm>
              <a:off x="352419" y="4632440"/>
              <a:ext cx="6122997" cy="7386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Log into your Pro Xtra Account on homedepot.ca before you shop online. If you forget to login, call our support center and they will add those purchases to your account. </a:t>
              </a:r>
            </a:p>
          </p:txBody>
        </p:sp>
        <p:sp>
          <p:nvSpPr>
            <p:cNvPr id="13" name="TextBox 12">
              <a:extLst>
                <a:ext uri="{FF2B5EF4-FFF2-40B4-BE49-F238E27FC236}">
                  <a16:creationId xmlns:a16="http://schemas.microsoft.com/office/drawing/2014/main" id="{B9BE1D9C-9299-4DF7-BB6C-CB0D5C58A311}"/>
                </a:ext>
              </a:extLst>
            </p:cNvPr>
            <p:cNvSpPr txBox="1"/>
            <p:nvPr/>
          </p:nvSpPr>
          <p:spPr>
            <a:xfrm>
              <a:off x="472359" y="4185641"/>
              <a:ext cx="484855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1C1C1C">
                      <a:lumMod val="75000"/>
                      <a:lumOff val="25000"/>
                    </a:srgbClr>
                  </a:solidFill>
                  <a:effectLst/>
                  <a:uLnTx/>
                  <a:uFillTx/>
                  <a:latin typeface="Arial"/>
                  <a:ea typeface="+mn-ea"/>
                  <a:cs typeface="+mn-cs"/>
                </a:rPr>
                <a:t>What about shopping online?</a:t>
              </a:r>
            </a:p>
          </p:txBody>
        </p:sp>
      </p:grpSp>
      <p:grpSp>
        <p:nvGrpSpPr>
          <p:cNvPr id="14" name="Group 13">
            <a:extLst>
              <a:ext uri="{FF2B5EF4-FFF2-40B4-BE49-F238E27FC236}">
                <a16:creationId xmlns:a16="http://schemas.microsoft.com/office/drawing/2014/main" id="{E2774EFB-D4BF-4A04-80D6-CBDD4852AD9A}"/>
              </a:ext>
            </a:extLst>
          </p:cNvPr>
          <p:cNvGrpSpPr/>
          <p:nvPr/>
        </p:nvGrpSpPr>
        <p:grpSpPr>
          <a:xfrm>
            <a:off x="7772399" y="1273907"/>
            <a:ext cx="2543175" cy="4354081"/>
            <a:chOff x="7552866" y="1021756"/>
            <a:chExt cx="2679842" cy="4826860"/>
          </a:xfrm>
        </p:grpSpPr>
        <p:pic>
          <p:nvPicPr>
            <p:cNvPr id="15" name="Picture 14">
              <a:extLst>
                <a:ext uri="{FF2B5EF4-FFF2-40B4-BE49-F238E27FC236}">
                  <a16:creationId xmlns:a16="http://schemas.microsoft.com/office/drawing/2014/main" id="{3FD1781E-1817-439C-BBD7-130170E88A63}"/>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foregroundMark x1="9598" y1="6518" x2="9598" y2="6518"/>
                          <a14:foregroundMark x1="17337" y1="5405" x2="17337" y2="5405"/>
                          <a14:foregroundMark x1="20743" y1="4134" x2="20743" y2="4134"/>
                          <a14:foregroundMark x1="28483" y1="3816" x2="28483" y2="3816"/>
                          <a14:foregroundMark x1="33437" y1="3816" x2="33437" y2="3816"/>
                          <a14:foregroundMark x1="38390" y1="3816" x2="38390" y2="3816"/>
                          <a14:foregroundMark x1="45820" y1="3816" x2="45820" y2="3816"/>
                          <a14:foregroundMark x1="52941" y1="4293" x2="52941" y2="4293"/>
                          <a14:foregroundMark x1="56966" y1="5246" x2="56966" y2="5246"/>
                          <a14:foregroundMark x1="61920" y1="5246" x2="61920" y2="5246"/>
                          <a14:foregroundMark x1="67183" y1="5882" x2="67183" y2="5882"/>
                          <a14:foregroundMark x1="82353" y1="1590" x2="82353" y2="1590"/>
                          <a14:foregroundMark x1="11146" y1="2067" x2="11146" y2="2067"/>
                          <a14:foregroundMark x1="13932" y1="1908" x2="13932" y2="1908"/>
                          <a14:foregroundMark x1="22291" y1="1749" x2="22291" y2="1749"/>
                          <a14:foregroundMark x1="31579" y1="1908" x2="31579" y2="1908"/>
                          <a14:foregroundMark x1="37771" y1="1908" x2="37771" y2="1908"/>
                          <a14:foregroundMark x1="44272" y1="1908" x2="44272" y2="1908"/>
                          <a14:foregroundMark x1="49226" y1="1908" x2="49226" y2="1908"/>
                          <a14:foregroundMark x1="56037" y1="1749" x2="56037" y2="1749"/>
                          <a14:foregroundMark x1="86378" y1="1908" x2="86378" y2="1908"/>
                          <a14:foregroundMark x1="90402" y1="2226" x2="90402" y2="2226"/>
                          <a14:foregroundMark x1="92879" y1="3975" x2="92879" y2="3975"/>
                          <a14:foregroundMark x1="96285" y1="8585" x2="96285" y2="8585"/>
                          <a14:foregroundMark x1="96285" y1="12560" x2="96285" y2="12560"/>
                          <a14:foregroundMark x1="96594" y1="20668" x2="96594" y2="20668"/>
                          <a14:foregroundMark x1="97214" y1="25119" x2="97214" y2="25119"/>
                          <a14:foregroundMark x1="96285" y1="40064" x2="96285" y2="40064"/>
                          <a14:foregroundMark x1="96285" y1="62480" x2="96285" y2="62480"/>
                          <a14:foregroundMark x1="96594" y1="76630" x2="96594" y2="76630"/>
                          <a14:foregroundMark x1="96594" y1="89030" x2="96594" y2="89030"/>
                          <a14:foregroundMark x1="78328" y1="98887" x2="78328" y2="98887"/>
                          <a14:foregroundMark x1="45820" y1="93959" x2="45820" y2="93959"/>
                          <a14:foregroundMark x1="61300" y1="94754" x2="61300" y2="94754"/>
                          <a14:foregroundMark x1="75851" y1="95231" x2="75851" y2="95231"/>
                          <a14:foregroundMark x1="86068" y1="92687" x2="86068" y2="92687"/>
                          <a14:foregroundMark x1="82663" y1="89348" x2="82663" y2="89348"/>
                          <a14:foregroundMark x1="71207" y1="90302" x2="71207" y2="90302"/>
                          <a14:foregroundMark x1="61300" y1="92051" x2="61300" y2="92051"/>
                          <a14:foregroundMark x1="53251" y1="92210" x2="53251" y2="92210"/>
                          <a14:foregroundMark x1="44272" y1="92210" x2="44272" y2="92210"/>
                          <a14:foregroundMark x1="39319" y1="92210" x2="39319" y2="92210"/>
                          <a14:foregroundMark x1="27554" y1="94595" x2="27554" y2="94595"/>
                          <a14:foregroundMark x1="25077" y1="95707" x2="25077" y2="95707"/>
                          <a14:foregroundMark x1="16409" y1="94754" x2="16409" y2="94754"/>
                          <a14:foregroundMark x1="9288" y1="93959" x2="9288" y2="93959"/>
                          <a14:foregroundMark x1="4025" y1="94913" x2="4025" y2="94913"/>
                          <a14:foregroundMark x1="16099" y1="99046" x2="16099" y2="99046"/>
                          <a14:foregroundMark x1="25697" y1="99046" x2="25697" y2="99046"/>
                          <a14:foregroundMark x1="31579" y1="98887" x2="31579" y2="98887"/>
                          <a14:foregroundMark x1="37461" y1="99046" x2="37461" y2="99046"/>
                          <a14:foregroundMark x1="42105" y1="99205" x2="42105" y2="99205"/>
                          <a14:foregroundMark x1="58204" y1="97297" x2="58204" y2="97297"/>
                          <a14:foregroundMark x1="46130" y1="97456" x2="46130" y2="97456"/>
                          <a14:foregroundMark x1="36223" y1="96661" x2="36223" y2="96661"/>
                          <a14:foregroundMark x1="34985" y1="94436" x2="34985" y2="94436"/>
                          <a14:foregroundMark x1="66873" y1="93482" x2="66873" y2="93482"/>
                          <a14:foregroundMark x1="67802" y1="96343" x2="67802" y2="96343"/>
                          <a14:foregroundMark x1="74923" y1="92528" x2="74923" y2="92528"/>
                          <a14:foregroundMark x1="79257" y1="91574" x2="79257" y2="91574"/>
                          <a14:foregroundMark x1="83591" y1="95072" x2="83591" y2="95072"/>
                          <a14:foregroundMark x1="79876" y1="96661" x2="79876" y2="96661"/>
                          <a14:foregroundMark x1="39628" y1="89030" x2="39628" y2="89030"/>
                          <a14:foregroundMark x1="29102" y1="91733" x2="29102" y2="91733"/>
                          <a14:foregroundMark x1="23529" y1="90620" x2="23529" y2="90620"/>
                          <a14:foregroundMark x1="31579" y1="88871" x2="31579" y2="88871"/>
                          <a14:foregroundMark x1="4025" y1="85533" x2="4025" y2="85533"/>
                          <a14:foregroundMark x1="3715" y1="81240" x2="3715" y2="81240"/>
                          <a14:foregroundMark x1="3096" y1="77107" x2="3096" y2="77107"/>
                          <a14:foregroundMark x1="3406" y1="74722" x2="3406" y2="74722"/>
                          <a14:foregroundMark x1="3715" y1="71860" x2="3715" y2="71860"/>
                          <a14:foregroundMark x1="3715" y1="69952" x2="3715" y2="69952"/>
                          <a14:foregroundMark x1="3715" y1="67568" x2="3715" y2="67568"/>
                          <a14:foregroundMark x1="3715" y1="65183" x2="3715" y2="65183"/>
                          <a14:foregroundMark x1="3406" y1="63911" x2="3406" y2="63911"/>
                          <a14:foregroundMark x1="3406" y1="61367" x2="3406" y2="61367"/>
                          <a14:foregroundMark x1="3715" y1="58824" x2="3715" y2="58824"/>
                          <a14:foregroundMark x1="3715" y1="55803" x2="3715" y2="55803"/>
                          <a14:foregroundMark x1="3406" y1="53577" x2="3406" y2="53577"/>
                          <a14:foregroundMark x1="3406" y1="50715" x2="3406" y2="50715"/>
                          <a14:foregroundMark x1="3406" y1="48331" x2="3406" y2="48331"/>
                          <a14:foregroundMark x1="3406" y1="46900" x2="3406" y2="46900"/>
                          <a14:foregroundMark x1="3406" y1="44515" x2="3406" y2="44515"/>
                          <a14:foregroundMark x1="3406" y1="42766" x2="3406" y2="42766"/>
                          <a14:foregroundMark x1="3406" y1="40541" x2="3406" y2="40541"/>
                          <a14:foregroundMark x1="3406" y1="37838" x2="3406" y2="37838"/>
                          <a14:foregroundMark x1="3406" y1="36566" x2="3406" y2="36566"/>
                          <a14:foregroundMark x1="3715" y1="34181" x2="3715" y2="34181"/>
                          <a14:foregroundMark x1="3715" y1="32750" x2="3715" y2="32750"/>
                          <a14:foregroundMark x1="1238" y1="29730" x2="1238" y2="29730"/>
                          <a14:foregroundMark x1="4025" y1="30366" x2="4025" y2="30366"/>
                          <a14:foregroundMark x1="2167" y1="29253" x2="2167" y2="29253"/>
                          <a14:foregroundMark x1="3715" y1="27186" x2="3715" y2="27186"/>
                          <a14:foregroundMark x1="4025" y1="24483" x2="4025" y2="24483"/>
                          <a14:foregroundMark x1="1858" y1="23688" x2="1858" y2="23688"/>
                          <a14:foregroundMark x1="2167" y1="21463" x2="2167" y2="21463"/>
                          <a14:foregroundMark x1="4025" y1="21622" x2="4025" y2="21622"/>
                          <a14:foregroundMark x1="4025" y1="18124" x2="4025" y2="18124"/>
                          <a14:foregroundMark x1="2786" y1="17011" x2="2786" y2="17011"/>
                          <a14:foregroundMark x1="4334" y1="15103" x2="4334" y2="15103"/>
                          <a14:foregroundMark x1="4334" y1="12242" x2="4334" y2="12242"/>
                          <a14:foregroundMark x1="4025" y1="10493" x2="4025" y2="10493"/>
                          <a14:foregroundMark x1="4334" y1="8903" x2="4334" y2="8903"/>
                          <a14:foregroundMark x1="5573" y1="7154" x2="5573" y2="7154"/>
                          <a14:foregroundMark x1="8050" y1="5087" x2="8050" y2="5087"/>
                          <a14:foregroundMark x1="10526" y1="4610" x2="10526" y2="4610"/>
                          <a14:foregroundMark x1="15480" y1="3975" x2="15480" y2="3975"/>
                          <a14:foregroundMark x1="46440" y1="7631" x2="46440" y2="7631"/>
                          <a14:foregroundMark x1="52012" y1="8426" x2="52012" y2="8426"/>
                          <a14:foregroundMark x1="52632" y1="5882" x2="52632" y2="5882"/>
                          <a14:foregroundMark x1="55108" y1="3339" x2="55108" y2="3339"/>
                          <a14:foregroundMark x1="60062" y1="2544" x2="60062" y2="2544"/>
                          <a14:foregroundMark x1="64087" y1="2385" x2="64087" y2="2385"/>
                          <a14:foregroundMark x1="67492" y1="2226" x2="67492" y2="2226"/>
                          <a14:foregroundMark x1="73375" y1="4134" x2="73375" y2="4134"/>
                          <a14:foregroundMark x1="71827" y1="6677" x2="71827" y2="6677"/>
                          <a14:foregroundMark x1="74923" y1="8426" x2="74923" y2="8426"/>
                          <a14:foregroundMark x1="75851" y1="6359" x2="75851" y2="6359"/>
                          <a14:foregroundMark x1="78638" y1="4293" x2="78638" y2="4293"/>
                          <a14:foregroundMark x1="95046" y1="14626" x2="95046" y2="14626"/>
                          <a14:foregroundMark x1="96285" y1="16852" x2="96285" y2="16852"/>
                          <a14:foregroundMark x1="94737" y1="18601" x2="94737" y2="18601"/>
                          <a14:foregroundMark x1="94737" y1="23370" x2="94737" y2="23370"/>
                          <a14:foregroundMark x1="94737" y1="26073" x2="94737" y2="26073"/>
                          <a14:foregroundMark x1="95046" y1="28935" x2="95046" y2="28935"/>
                          <a14:foregroundMark x1="95046" y1="31161" x2="95046" y2="31161"/>
                          <a14:foregroundMark x1="95356" y1="33386" x2="95356" y2="33386"/>
                          <a14:foregroundMark x1="95356" y1="35135" x2="95356" y2="35135"/>
                          <a14:foregroundMark x1="94737" y1="36566" x2="94737" y2="36566"/>
                          <a14:foregroundMark x1="94737" y1="42607" x2="94737" y2="42607"/>
                          <a14:foregroundMark x1="95356" y1="44992" x2="95356" y2="44992"/>
                          <a14:foregroundMark x1="96285" y1="43402" x2="96285" y2="43402"/>
                          <a14:foregroundMark x1="95666" y1="46582" x2="95666" y2="46582"/>
                          <a14:foregroundMark x1="95666" y1="49126" x2="95666" y2="49126"/>
                          <a14:foregroundMark x1="95975" y1="50397" x2="95975" y2="50397"/>
                          <a14:foregroundMark x1="95975" y1="51669" x2="95975" y2="51669"/>
                          <a14:foregroundMark x1="95666" y1="52941" x2="95666" y2="52941"/>
                          <a14:foregroundMark x1="95356" y1="54372" x2="95356" y2="54372"/>
                          <a14:foregroundMark x1="94737" y1="55485" x2="94737" y2="55485"/>
                          <a14:foregroundMark x1="94737" y1="57075" x2="94737" y2="57075"/>
                          <a14:foregroundMark x1="94737" y1="58347" x2="94737" y2="58347"/>
                          <a14:foregroundMark x1="94737" y1="59300" x2="94737" y2="59300"/>
                          <a14:foregroundMark x1="94737" y1="61526" x2="94737" y2="61526"/>
                          <a14:foregroundMark x1="95356" y1="64706" x2="95356" y2="64706"/>
                          <a14:foregroundMark x1="95975" y1="67091" x2="95975" y2="67091"/>
                          <a14:foregroundMark x1="95975" y1="68362" x2="95975" y2="68362"/>
                          <a14:foregroundMark x1="95975" y1="69952" x2="95975" y2="69952"/>
                          <a14:foregroundMark x1="95975" y1="71224" x2="96285" y2="71542"/>
                          <a14:foregroundMark x1="96285" y1="73132" x2="96285" y2="73132"/>
                          <a14:foregroundMark x1="96285" y1="74404" x2="96285" y2="74404"/>
                          <a14:foregroundMark x1="95046" y1="75994" x2="95046" y2="75994"/>
                        </a14:backgroundRemoval>
                      </a14:imgEffect>
                    </a14:imgLayer>
                  </a14:imgProps>
                </a:ext>
              </a:extLst>
            </a:blip>
            <a:stretch>
              <a:fillRect/>
            </a:stretch>
          </p:blipFill>
          <p:spPr>
            <a:xfrm>
              <a:off x="7552866" y="1021756"/>
              <a:ext cx="2679842" cy="4826860"/>
            </a:xfrm>
            <a:prstGeom prst="rect">
              <a:avLst/>
            </a:prstGeom>
            <a:effectLst>
              <a:outerShdw blurRad="50800" dist="38100" dir="2700000" algn="tl" rotWithShape="0">
                <a:prstClr val="black">
                  <a:alpha val="40000"/>
                </a:prstClr>
              </a:outerShdw>
            </a:effectLst>
          </p:spPr>
        </p:pic>
        <p:pic>
          <p:nvPicPr>
            <p:cNvPr id="16" name="186A4E3D-395C-4CD1-9492-BAC42A63A391" descr="image1.png">
              <a:extLst>
                <a:ext uri="{FF2B5EF4-FFF2-40B4-BE49-F238E27FC236}">
                  <a16:creationId xmlns:a16="http://schemas.microsoft.com/office/drawing/2014/main" id="{BD5F7305-1C25-43AA-9115-225A024CDA06}"/>
                </a:ext>
              </a:extLst>
            </p:cNvPr>
            <p:cNvPicPr>
              <a:picLocks noChangeAspect="1" noChangeArrowheads="1"/>
            </p:cNvPicPr>
            <p:nvPr/>
          </p:nvPicPr>
          <p:blipFill rotWithShape="1">
            <a:blip r:embed="rId4" r:link="rId5" cstate="print">
              <a:extLst>
                <a:ext uri="{28A0092B-C50C-407E-A947-70E740481C1C}">
                  <a14:useLocalDpi xmlns:a14="http://schemas.microsoft.com/office/drawing/2010/main" val="0"/>
                </a:ext>
              </a:extLst>
            </a:blip>
            <a:srcRect b="4867"/>
            <a:stretch>
              <a:fillRect/>
            </a:stretch>
          </p:blipFill>
          <p:spPr bwMode="auto">
            <a:xfrm>
              <a:off x="7696200" y="1543715"/>
              <a:ext cx="2350126" cy="367742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23C6688C-52CA-4EB0-B3B2-0E7C46528408}"/>
                </a:ext>
              </a:extLst>
            </p:cNvPr>
            <p:cNvSpPr/>
            <p:nvPr/>
          </p:nvSpPr>
          <p:spPr>
            <a:xfrm>
              <a:off x="7798605" y="2184252"/>
              <a:ext cx="2188363" cy="119693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8CD5B93-0A1F-47AF-9FCC-F52A0FBCEB33}"/>
                </a:ext>
              </a:extLst>
            </p:cNvPr>
            <p:cNvSpPr/>
            <p:nvPr/>
          </p:nvSpPr>
          <p:spPr>
            <a:xfrm>
              <a:off x="8077200" y="2332573"/>
              <a:ext cx="1676400" cy="3614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9" name="Picture 18" descr="Logo, company name&#10;&#10;Description automatically generated">
              <a:extLst>
                <a:ext uri="{FF2B5EF4-FFF2-40B4-BE49-F238E27FC236}">
                  <a16:creationId xmlns:a16="http://schemas.microsoft.com/office/drawing/2014/main" id="{5741D9BA-BE61-4563-9FAB-BC14BFF59C7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81217" y="2329930"/>
              <a:ext cx="1092187" cy="364062"/>
            </a:xfrm>
            <a:prstGeom prst="rect">
              <a:avLst/>
            </a:prstGeom>
          </p:spPr>
        </p:pic>
      </p:grpSp>
      <p:sp>
        <p:nvSpPr>
          <p:cNvPr id="3" name="TextBox 2">
            <a:extLst>
              <a:ext uri="{FF2B5EF4-FFF2-40B4-BE49-F238E27FC236}">
                <a16:creationId xmlns:a16="http://schemas.microsoft.com/office/drawing/2014/main" id="{F2642C53-A907-E0B9-2DA8-051E82A471FB}"/>
              </a:ext>
            </a:extLst>
          </p:cNvPr>
          <p:cNvSpPr txBox="1"/>
          <p:nvPr/>
        </p:nvSpPr>
        <p:spPr>
          <a:xfrm>
            <a:off x="674945" y="5952148"/>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1C1C1C"/>
                </a:solidFill>
                <a:effectLst/>
                <a:uLnTx/>
                <a:uFillTx/>
                <a:latin typeface="Arial"/>
                <a:ea typeface="+mn-ea"/>
                <a:cs typeface="+mn-cs"/>
              </a:rPr>
              <a:t>https://www.homedepot.ca/en/home/pro.html</a:t>
            </a:r>
          </a:p>
        </p:txBody>
      </p:sp>
    </p:spTree>
    <p:extLst>
      <p:ext uri="{BB962C8B-B14F-4D97-AF65-F5344CB8AC3E}">
        <p14:creationId xmlns:p14="http://schemas.microsoft.com/office/powerpoint/2010/main" val="82697248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AF42789-50A4-4300-914D-9AF83D108986}"/>
              </a:ext>
            </a:extLst>
          </p:cNvPr>
          <p:cNvGrpSpPr/>
          <p:nvPr/>
        </p:nvGrpSpPr>
        <p:grpSpPr>
          <a:xfrm>
            <a:off x="6478244" y="1746841"/>
            <a:ext cx="2478658" cy="4826860"/>
            <a:chOff x="6478244" y="1746841"/>
            <a:chExt cx="2478658" cy="4826860"/>
          </a:xfrm>
        </p:grpSpPr>
        <p:pic>
          <p:nvPicPr>
            <p:cNvPr id="34" name="Picture 33">
              <a:extLst>
                <a:ext uri="{FF2B5EF4-FFF2-40B4-BE49-F238E27FC236}">
                  <a16:creationId xmlns:a16="http://schemas.microsoft.com/office/drawing/2014/main" id="{BE0554BF-3125-45B0-AB11-EC93028D9E1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foregroundMark x1="9598" y1="6518" x2="9598" y2="6518"/>
                          <a14:foregroundMark x1="17337" y1="5405" x2="17337" y2="5405"/>
                          <a14:foregroundMark x1="20743" y1="4134" x2="20743" y2="4134"/>
                          <a14:foregroundMark x1="28483" y1="3816" x2="28483" y2="3816"/>
                          <a14:foregroundMark x1="33437" y1="3816" x2="33437" y2="3816"/>
                          <a14:foregroundMark x1="38390" y1="3816" x2="38390" y2="3816"/>
                          <a14:foregroundMark x1="45820" y1="3816" x2="45820" y2="3816"/>
                          <a14:foregroundMark x1="52941" y1="4293" x2="52941" y2="4293"/>
                          <a14:foregroundMark x1="56966" y1="5246" x2="56966" y2="5246"/>
                          <a14:foregroundMark x1="61920" y1="5246" x2="61920" y2="5246"/>
                          <a14:foregroundMark x1="67183" y1="5882" x2="67183" y2="5882"/>
                          <a14:foregroundMark x1="82353" y1="1590" x2="82353" y2="1590"/>
                          <a14:foregroundMark x1="11146" y1="2067" x2="11146" y2="2067"/>
                          <a14:foregroundMark x1="13932" y1="1908" x2="13932" y2="1908"/>
                          <a14:foregroundMark x1="22291" y1="1749" x2="22291" y2="1749"/>
                          <a14:foregroundMark x1="31579" y1="1908" x2="31579" y2="1908"/>
                          <a14:foregroundMark x1="37771" y1="1908" x2="37771" y2="1908"/>
                          <a14:foregroundMark x1="44272" y1="1908" x2="44272" y2="1908"/>
                          <a14:foregroundMark x1="49226" y1="1908" x2="49226" y2="1908"/>
                          <a14:foregroundMark x1="56037" y1="1749" x2="56037" y2="1749"/>
                          <a14:foregroundMark x1="86378" y1="1908" x2="86378" y2="1908"/>
                          <a14:foregroundMark x1="90402" y1="2226" x2="90402" y2="2226"/>
                          <a14:foregroundMark x1="92879" y1="3975" x2="92879" y2="3975"/>
                          <a14:foregroundMark x1="96285" y1="8585" x2="96285" y2="8585"/>
                          <a14:foregroundMark x1="96285" y1="12560" x2="96285" y2="12560"/>
                          <a14:foregroundMark x1="96594" y1="20668" x2="96594" y2="20668"/>
                          <a14:foregroundMark x1="97214" y1="25119" x2="97214" y2="25119"/>
                          <a14:foregroundMark x1="96285" y1="40064" x2="96285" y2="40064"/>
                          <a14:foregroundMark x1="96285" y1="62480" x2="96285" y2="62480"/>
                          <a14:foregroundMark x1="96594" y1="76630" x2="96594" y2="76630"/>
                          <a14:foregroundMark x1="96594" y1="89030" x2="96594" y2="89030"/>
                          <a14:foregroundMark x1="78328" y1="98887" x2="78328" y2="98887"/>
                          <a14:foregroundMark x1="45820" y1="93959" x2="45820" y2="93959"/>
                          <a14:foregroundMark x1="61300" y1="94754" x2="61300" y2="94754"/>
                          <a14:foregroundMark x1="75851" y1="95231" x2="75851" y2="95231"/>
                          <a14:foregroundMark x1="86068" y1="92687" x2="86068" y2="92687"/>
                          <a14:foregroundMark x1="82663" y1="89348" x2="82663" y2="89348"/>
                          <a14:foregroundMark x1="71207" y1="90302" x2="71207" y2="90302"/>
                          <a14:foregroundMark x1="61300" y1="92051" x2="61300" y2="92051"/>
                          <a14:foregroundMark x1="53251" y1="92210" x2="53251" y2="92210"/>
                          <a14:foregroundMark x1="44272" y1="92210" x2="44272" y2="92210"/>
                          <a14:foregroundMark x1="39319" y1="92210" x2="39319" y2="92210"/>
                          <a14:foregroundMark x1="27554" y1="94595" x2="27554" y2="94595"/>
                          <a14:foregroundMark x1="25077" y1="95707" x2="25077" y2="95707"/>
                          <a14:foregroundMark x1="16409" y1="94754" x2="16409" y2="94754"/>
                          <a14:foregroundMark x1="9288" y1="93959" x2="9288" y2="93959"/>
                          <a14:foregroundMark x1="4025" y1="94913" x2="4025" y2="94913"/>
                          <a14:foregroundMark x1="16099" y1="99046" x2="16099" y2="99046"/>
                          <a14:foregroundMark x1="25697" y1="99046" x2="25697" y2="99046"/>
                          <a14:foregroundMark x1="31579" y1="98887" x2="31579" y2="98887"/>
                          <a14:foregroundMark x1="37461" y1="99046" x2="37461" y2="99046"/>
                          <a14:foregroundMark x1="42105" y1="99205" x2="42105" y2="99205"/>
                          <a14:foregroundMark x1="58204" y1="97297" x2="58204" y2="97297"/>
                          <a14:foregroundMark x1="46130" y1="97456" x2="46130" y2="97456"/>
                          <a14:foregroundMark x1="36223" y1="96661" x2="36223" y2="96661"/>
                          <a14:foregroundMark x1="34985" y1="94436" x2="34985" y2="94436"/>
                          <a14:foregroundMark x1="66873" y1="93482" x2="66873" y2="93482"/>
                          <a14:foregroundMark x1="67802" y1="96343" x2="67802" y2="96343"/>
                          <a14:foregroundMark x1="74923" y1="92528" x2="74923" y2="92528"/>
                          <a14:foregroundMark x1="79257" y1="91574" x2="79257" y2="91574"/>
                          <a14:foregroundMark x1="83591" y1="95072" x2="83591" y2="95072"/>
                          <a14:foregroundMark x1="79876" y1="96661" x2="79876" y2="96661"/>
                          <a14:foregroundMark x1="39628" y1="89030" x2="39628" y2="89030"/>
                          <a14:foregroundMark x1="29102" y1="91733" x2="29102" y2="91733"/>
                          <a14:foregroundMark x1="23529" y1="90620" x2="23529" y2="90620"/>
                          <a14:foregroundMark x1="31579" y1="88871" x2="31579" y2="88871"/>
                          <a14:foregroundMark x1="4025" y1="85533" x2="4025" y2="85533"/>
                          <a14:foregroundMark x1="3715" y1="81240" x2="3715" y2="81240"/>
                          <a14:foregroundMark x1="3096" y1="77107" x2="3096" y2="77107"/>
                          <a14:foregroundMark x1="3406" y1="74722" x2="3406" y2="74722"/>
                          <a14:foregroundMark x1="3715" y1="71860" x2="3715" y2="71860"/>
                          <a14:foregroundMark x1="3715" y1="69952" x2="3715" y2="69952"/>
                          <a14:foregroundMark x1="3715" y1="67568" x2="3715" y2="67568"/>
                          <a14:foregroundMark x1="3715" y1="65183" x2="3715" y2="65183"/>
                          <a14:foregroundMark x1="3406" y1="63911" x2="3406" y2="63911"/>
                          <a14:foregroundMark x1="3406" y1="61367" x2="3406" y2="61367"/>
                          <a14:foregroundMark x1="3715" y1="58824" x2="3715" y2="58824"/>
                          <a14:foregroundMark x1="3715" y1="55803" x2="3715" y2="55803"/>
                          <a14:foregroundMark x1="3406" y1="53577" x2="3406" y2="53577"/>
                          <a14:foregroundMark x1="3406" y1="50715" x2="3406" y2="50715"/>
                          <a14:foregroundMark x1="3406" y1="48331" x2="3406" y2="48331"/>
                          <a14:foregroundMark x1="3406" y1="46900" x2="3406" y2="46900"/>
                          <a14:foregroundMark x1="3406" y1="44515" x2="3406" y2="44515"/>
                          <a14:foregroundMark x1="3406" y1="42766" x2="3406" y2="42766"/>
                          <a14:foregroundMark x1="3406" y1="40541" x2="3406" y2="40541"/>
                          <a14:foregroundMark x1="3406" y1="37838" x2="3406" y2="37838"/>
                          <a14:foregroundMark x1="3406" y1="36566" x2="3406" y2="36566"/>
                          <a14:foregroundMark x1="3715" y1="34181" x2="3715" y2="34181"/>
                          <a14:foregroundMark x1="3715" y1="32750" x2="3715" y2="32750"/>
                          <a14:foregroundMark x1="1238" y1="29730" x2="1238" y2="29730"/>
                          <a14:foregroundMark x1="4025" y1="30366" x2="4025" y2="30366"/>
                          <a14:foregroundMark x1="2167" y1="29253" x2="2167" y2="29253"/>
                          <a14:foregroundMark x1="3715" y1="27186" x2="3715" y2="27186"/>
                          <a14:foregroundMark x1="4025" y1="24483" x2="4025" y2="24483"/>
                          <a14:foregroundMark x1="1858" y1="23688" x2="1858" y2="23688"/>
                          <a14:foregroundMark x1="2167" y1="21463" x2="2167" y2="21463"/>
                          <a14:foregroundMark x1="4025" y1="21622" x2="4025" y2="21622"/>
                          <a14:foregroundMark x1="4025" y1="18124" x2="4025" y2="18124"/>
                          <a14:foregroundMark x1="2786" y1="17011" x2="2786" y2="17011"/>
                          <a14:foregroundMark x1="4334" y1="15103" x2="4334" y2="15103"/>
                          <a14:foregroundMark x1="4334" y1="12242" x2="4334" y2="12242"/>
                          <a14:foregroundMark x1="4025" y1="10493" x2="4025" y2="10493"/>
                          <a14:foregroundMark x1="4334" y1="8903" x2="4334" y2="8903"/>
                          <a14:foregroundMark x1="5573" y1="7154" x2="5573" y2="7154"/>
                          <a14:foregroundMark x1="8050" y1="5087" x2="8050" y2="5087"/>
                          <a14:foregroundMark x1="10526" y1="4610" x2="10526" y2="4610"/>
                          <a14:foregroundMark x1="15480" y1="3975" x2="15480" y2="3975"/>
                          <a14:foregroundMark x1="46440" y1="7631" x2="46440" y2="7631"/>
                          <a14:foregroundMark x1="52012" y1="8426" x2="52012" y2="8426"/>
                          <a14:foregroundMark x1="52632" y1="5882" x2="52632" y2="5882"/>
                          <a14:foregroundMark x1="55108" y1="3339" x2="55108" y2="3339"/>
                          <a14:foregroundMark x1="60062" y1="2544" x2="60062" y2="2544"/>
                          <a14:foregroundMark x1="64087" y1="2385" x2="64087" y2="2385"/>
                          <a14:foregroundMark x1="67492" y1="2226" x2="67492" y2="2226"/>
                          <a14:foregroundMark x1="73375" y1="4134" x2="73375" y2="4134"/>
                          <a14:foregroundMark x1="71827" y1="6677" x2="71827" y2="6677"/>
                          <a14:foregroundMark x1="74923" y1="8426" x2="74923" y2="8426"/>
                          <a14:foregroundMark x1="75851" y1="6359" x2="75851" y2="6359"/>
                          <a14:foregroundMark x1="78638" y1="4293" x2="78638" y2="4293"/>
                          <a14:foregroundMark x1="95046" y1="14626" x2="95046" y2="14626"/>
                          <a14:foregroundMark x1="96285" y1="16852" x2="96285" y2="16852"/>
                          <a14:foregroundMark x1="94737" y1="18601" x2="94737" y2="18601"/>
                          <a14:foregroundMark x1="94737" y1="23370" x2="94737" y2="23370"/>
                          <a14:foregroundMark x1="94737" y1="26073" x2="94737" y2="26073"/>
                          <a14:foregroundMark x1="95046" y1="28935" x2="95046" y2="28935"/>
                          <a14:foregroundMark x1="95046" y1="31161" x2="95046" y2="31161"/>
                          <a14:foregroundMark x1="95356" y1="33386" x2="95356" y2="33386"/>
                          <a14:foregroundMark x1="95356" y1="35135" x2="95356" y2="35135"/>
                          <a14:foregroundMark x1="94737" y1="36566" x2="94737" y2="36566"/>
                          <a14:foregroundMark x1="94737" y1="42607" x2="94737" y2="42607"/>
                          <a14:foregroundMark x1="95356" y1="44992" x2="95356" y2="44992"/>
                          <a14:foregroundMark x1="96285" y1="43402" x2="96285" y2="43402"/>
                          <a14:foregroundMark x1="95666" y1="46582" x2="95666" y2="46582"/>
                          <a14:foregroundMark x1="95666" y1="49126" x2="95666" y2="49126"/>
                          <a14:foregroundMark x1="95975" y1="50397" x2="95975" y2="50397"/>
                          <a14:foregroundMark x1="95975" y1="51669" x2="95975" y2="51669"/>
                          <a14:foregroundMark x1="95666" y1="52941" x2="95666" y2="52941"/>
                          <a14:foregroundMark x1="95356" y1="54372" x2="95356" y2="54372"/>
                          <a14:foregroundMark x1="94737" y1="55485" x2="94737" y2="55485"/>
                          <a14:foregroundMark x1="94737" y1="57075" x2="94737" y2="57075"/>
                          <a14:foregroundMark x1="94737" y1="58347" x2="94737" y2="58347"/>
                          <a14:foregroundMark x1="94737" y1="59300" x2="94737" y2="59300"/>
                          <a14:foregroundMark x1="94737" y1="61526" x2="94737" y2="61526"/>
                          <a14:foregroundMark x1="95356" y1="64706" x2="95356" y2="64706"/>
                          <a14:foregroundMark x1="95975" y1="67091" x2="95975" y2="67091"/>
                          <a14:foregroundMark x1="95975" y1="68362" x2="95975" y2="68362"/>
                          <a14:foregroundMark x1="95975" y1="69952" x2="95975" y2="69952"/>
                          <a14:foregroundMark x1="95975" y1="71224" x2="96285" y2="71542"/>
                          <a14:foregroundMark x1="96285" y1="73132" x2="96285" y2="73132"/>
                          <a14:foregroundMark x1="96285" y1="74404" x2="96285" y2="74404"/>
                          <a14:foregroundMark x1="95046" y1="75994" x2="95046" y2="75994"/>
                        </a14:backgroundRemoval>
                      </a14:imgEffect>
                    </a14:imgLayer>
                  </a14:imgProps>
                </a:ext>
              </a:extLst>
            </a:blip>
            <a:stretch>
              <a:fillRect/>
            </a:stretch>
          </p:blipFill>
          <p:spPr>
            <a:xfrm>
              <a:off x="6478244" y="1746841"/>
              <a:ext cx="2478658" cy="4826860"/>
            </a:xfrm>
            <a:prstGeom prst="rect">
              <a:avLst/>
            </a:prstGeom>
            <a:effectLst>
              <a:outerShdw blurRad="50800" dist="38100" dir="2700000" algn="tl" rotWithShape="0">
                <a:prstClr val="black">
                  <a:alpha val="40000"/>
                </a:prstClr>
              </a:outerShdw>
            </a:effectLst>
          </p:spPr>
        </p:pic>
        <p:pic>
          <p:nvPicPr>
            <p:cNvPr id="35" name="EFEEFC8C-B70D-4A89-8BEB-21D7109A1F8C" descr="image1.png">
              <a:extLst>
                <a:ext uri="{FF2B5EF4-FFF2-40B4-BE49-F238E27FC236}">
                  <a16:creationId xmlns:a16="http://schemas.microsoft.com/office/drawing/2014/main" id="{956FB268-B593-4BB8-9059-0B96F17082EF}"/>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4034"/>
            <a:stretch/>
          </p:blipFill>
          <p:spPr bwMode="auto">
            <a:xfrm>
              <a:off x="6622992" y="2265818"/>
              <a:ext cx="2168841" cy="369056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D186D815-F334-40C1-B7F5-0315AF740D1F}"/>
                </a:ext>
              </a:extLst>
            </p:cNvPr>
            <p:cNvSpPr/>
            <p:nvPr/>
          </p:nvSpPr>
          <p:spPr>
            <a:xfrm>
              <a:off x="6646508" y="4806927"/>
              <a:ext cx="719984" cy="11136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348F9897-7243-4CFE-890B-9598DB4676FF}"/>
                </a:ext>
              </a:extLst>
            </p:cNvPr>
            <p:cNvSpPr/>
            <p:nvPr/>
          </p:nvSpPr>
          <p:spPr>
            <a:xfrm>
              <a:off x="6878152" y="3456420"/>
              <a:ext cx="1616224" cy="303360"/>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4017E2E9-AF27-4996-B04F-DFDE7AA90668}"/>
                </a:ext>
              </a:extLst>
            </p:cNvPr>
            <p:cNvSpPr/>
            <p:nvPr/>
          </p:nvSpPr>
          <p:spPr>
            <a:xfrm>
              <a:off x="8232009" y="3719955"/>
              <a:ext cx="542068" cy="35335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pic>
          <p:nvPicPr>
            <p:cNvPr id="62" name="Picture 61" descr="Logo, company name&#10;&#10;Description automatically generated">
              <a:extLst>
                <a:ext uri="{FF2B5EF4-FFF2-40B4-BE49-F238E27FC236}">
                  <a16:creationId xmlns:a16="http://schemas.microsoft.com/office/drawing/2014/main" id="{28B2D513-C191-4C0C-8BAC-CE56B868A75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57673" y="3429000"/>
              <a:ext cx="936541" cy="333013"/>
            </a:xfrm>
            <a:prstGeom prst="rect">
              <a:avLst/>
            </a:prstGeom>
          </p:spPr>
        </p:pic>
      </p:grpSp>
      <p:sp>
        <p:nvSpPr>
          <p:cNvPr id="61" name="Rectangle 60">
            <a:extLst>
              <a:ext uri="{FF2B5EF4-FFF2-40B4-BE49-F238E27FC236}">
                <a16:creationId xmlns:a16="http://schemas.microsoft.com/office/drawing/2014/main" id="{75E6DDA6-CDAE-400C-9E34-0A5A38E6A591}"/>
              </a:ext>
            </a:extLst>
          </p:cNvPr>
          <p:cNvSpPr/>
          <p:nvPr/>
        </p:nvSpPr>
        <p:spPr>
          <a:xfrm>
            <a:off x="10489919" y="5257800"/>
            <a:ext cx="1737442" cy="16557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34379377-BF9A-447D-B36D-969708AA8C3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6BDDE3B-6E17-4A89-9F93-DBB317C0A6AD}" type="slidenum">
              <a:rPr kumimoji="0" lang="en-US" sz="900" b="1" i="0" u="none" strike="noStrike" kern="1200" cap="none" spc="0" normalizeH="0" baseline="0" noProof="0" smtClean="0">
                <a:ln>
                  <a:noFill/>
                </a:ln>
                <a:solidFill>
                  <a:srgbClr val="1C1C1C"/>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1" i="0" u="none" strike="noStrike" kern="1200" cap="none" spc="0" normalizeH="0" baseline="0" noProof="0">
              <a:ln>
                <a:noFill/>
              </a:ln>
              <a:solidFill>
                <a:srgbClr val="1C1C1C"/>
              </a:solidFill>
              <a:effectLst/>
              <a:uLnTx/>
              <a:uFillTx/>
              <a:latin typeface="Arial" panose="020B0604020202020204" pitchFamily="34" charset="0"/>
              <a:ea typeface="+mn-ea"/>
              <a:cs typeface="Arial" panose="020B0604020202020204" pitchFamily="34" charset="0"/>
            </a:endParaRPr>
          </a:p>
        </p:txBody>
      </p:sp>
      <p:pic>
        <p:nvPicPr>
          <p:cNvPr id="33" name="Picture 32">
            <a:extLst>
              <a:ext uri="{FF2B5EF4-FFF2-40B4-BE49-F238E27FC236}">
                <a16:creationId xmlns:a16="http://schemas.microsoft.com/office/drawing/2014/main" id="{04271832-A363-454B-8BD8-C7E77669421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2985" t="3839" r="3016" b="4111"/>
          <a:stretch/>
        </p:blipFill>
        <p:spPr>
          <a:xfrm rot="5400000">
            <a:off x="497204" y="2324564"/>
            <a:ext cx="2841290" cy="2335170"/>
          </a:xfrm>
          <a:prstGeom prst="rect">
            <a:avLst/>
          </a:prstGeom>
          <a:effectLst>
            <a:outerShdw blurRad="50800" dist="38100" dir="2700000" algn="tl" rotWithShape="0">
              <a:prstClr val="black">
                <a:alpha val="40000"/>
              </a:prstClr>
            </a:outerShdw>
          </a:effectLst>
        </p:spPr>
      </p:pic>
      <p:sp>
        <p:nvSpPr>
          <p:cNvPr id="38" name="Rectangle 37">
            <a:extLst>
              <a:ext uri="{FF2B5EF4-FFF2-40B4-BE49-F238E27FC236}">
                <a16:creationId xmlns:a16="http://schemas.microsoft.com/office/drawing/2014/main" id="{CCD9233F-1A9F-42E8-932E-61E56885654F}"/>
              </a:ext>
            </a:extLst>
          </p:cNvPr>
          <p:cNvSpPr/>
          <p:nvPr/>
        </p:nvSpPr>
        <p:spPr>
          <a:xfrm>
            <a:off x="6459767" y="1034257"/>
            <a:ext cx="5482237" cy="636609"/>
          </a:xfrm>
          <a:prstGeom prst="rect">
            <a:avLst/>
          </a:prstGeom>
          <a:solidFill>
            <a:schemeClr val="bg1"/>
          </a:solidFill>
          <a:ln w="28575">
            <a:solidFill>
              <a:schemeClr val="tx2"/>
            </a:solidFill>
          </a:ln>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rPr>
              <a:t>SCAN PRO XTRA ID DIGITAL BARCODE AT CHECK O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rPr>
              <a:t>Available on homedepot.ca or The Home Depot App</a:t>
            </a:r>
            <a:endParaRPr kumimoji="0" lang="en-CA" sz="14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endParaRPr>
          </a:p>
        </p:txBody>
      </p:sp>
      <p:sp>
        <p:nvSpPr>
          <p:cNvPr id="39" name="Oval 38">
            <a:extLst>
              <a:ext uri="{FF2B5EF4-FFF2-40B4-BE49-F238E27FC236}">
                <a16:creationId xmlns:a16="http://schemas.microsoft.com/office/drawing/2014/main" id="{0067314A-209D-4F48-8398-012FBA17D6D8}"/>
              </a:ext>
            </a:extLst>
          </p:cNvPr>
          <p:cNvSpPr/>
          <p:nvPr/>
        </p:nvSpPr>
        <p:spPr>
          <a:xfrm>
            <a:off x="5963250" y="1012201"/>
            <a:ext cx="725456" cy="68072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E8E8E8">
                    <a:lumMod val="50000"/>
                  </a:srgbClr>
                </a:solidFill>
                <a:effectLst/>
                <a:uLnTx/>
                <a:uFillTx/>
                <a:latin typeface="Arial"/>
                <a:ea typeface="+mn-ea"/>
                <a:cs typeface="+mn-cs"/>
              </a:rPr>
              <a:t>2</a:t>
            </a:r>
            <a:endParaRPr kumimoji="0" lang="en-CA" sz="32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pic>
        <p:nvPicPr>
          <p:cNvPr id="40" name="Picture 39">
            <a:extLst>
              <a:ext uri="{FF2B5EF4-FFF2-40B4-BE49-F238E27FC236}">
                <a16:creationId xmlns:a16="http://schemas.microsoft.com/office/drawing/2014/main" id="{DA48D003-15EB-4BD4-9799-1D7EAB24139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337" t="778" r="5292" b="618"/>
          <a:stretch/>
        </p:blipFill>
        <p:spPr>
          <a:xfrm rot="5400000">
            <a:off x="2903685" y="2354783"/>
            <a:ext cx="2841292" cy="2274724"/>
          </a:xfrm>
          <a:prstGeom prst="rect">
            <a:avLst/>
          </a:prstGeom>
          <a:effectLst>
            <a:outerShdw blurRad="50800" dist="38100" dir="2700000" algn="tl" rotWithShape="0">
              <a:prstClr val="black">
                <a:alpha val="40000"/>
              </a:prstClr>
            </a:outerShdw>
          </a:effectLst>
        </p:spPr>
      </p:pic>
      <p:sp>
        <p:nvSpPr>
          <p:cNvPr id="41" name="Rectangle 40">
            <a:extLst>
              <a:ext uri="{FF2B5EF4-FFF2-40B4-BE49-F238E27FC236}">
                <a16:creationId xmlns:a16="http://schemas.microsoft.com/office/drawing/2014/main" id="{86D77009-5F43-44E1-993F-A145F9DE8E0F}"/>
              </a:ext>
            </a:extLst>
          </p:cNvPr>
          <p:cNvSpPr/>
          <p:nvPr/>
        </p:nvSpPr>
        <p:spPr>
          <a:xfrm>
            <a:off x="751553" y="1000446"/>
            <a:ext cx="4710140" cy="903675"/>
          </a:xfrm>
          <a:prstGeom prst="rect">
            <a:avLst/>
          </a:prstGeom>
          <a:solidFill>
            <a:schemeClr val="bg1"/>
          </a:solidFill>
          <a:ln w="28575">
            <a:solidFill>
              <a:schemeClr val="tx2"/>
            </a:solidFill>
          </a:ln>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rPr>
              <a:t>KEY-IN PRO XTRA ID AT CHECK O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rPr>
              <a:t>REMEMBER: It’s the phone number u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rPr>
              <a:t>when registering for Pro Xtra</a:t>
            </a:r>
            <a:endParaRPr kumimoji="0" lang="en-CA" sz="14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endParaRPr>
          </a:p>
        </p:txBody>
      </p:sp>
      <p:sp>
        <p:nvSpPr>
          <p:cNvPr id="42" name="Rectangle 41">
            <a:extLst>
              <a:ext uri="{FF2B5EF4-FFF2-40B4-BE49-F238E27FC236}">
                <a16:creationId xmlns:a16="http://schemas.microsoft.com/office/drawing/2014/main" id="{BBC37B5F-6469-48FB-AE70-AC8077F3D5BD}"/>
              </a:ext>
            </a:extLst>
          </p:cNvPr>
          <p:cNvSpPr/>
          <p:nvPr/>
        </p:nvSpPr>
        <p:spPr>
          <a:xfrm>
            <a:off x="3596452" y="2849737"/>
            <a:ext cx="1455758" cy="17914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Oval 42">
            <a:extLst>
              <a:ext uri="{FF2B5EF4-FFF2-40B4-BE49-F238E27FC236}">
                <a16:creationId xmlns:a16="http://schemas.microsoft.com/office/drawing/2014/main" id="{18D3FBB2-DBD0-40A7-8A60-474F9E0966A6}"/>
              </a:ext>
            </a:extLst>
          </p:cNvPr>
          <p:cNvSpPr/>
          <p:nvPr/>
        </p:nvSpPr>
        <p:spPr>
          <a:xfrm>
            <a:off x="249996" y="1111923"/>
            <a:ext cx="725456" cy="68072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E8E8E8">
                    <a:lumMod val="50000"/>
                  </a:srgbClr>
                </a:solidFill>
                <a:effectLst/>
                <a:uLnTx/>
                <a:uFillTx/>
                <a:latin typeface="Arial"/>
                <a:ea typeface="+mn-ea"/>
                <a:cs typeface="+mn-cs"/>
              </a:rPr>
              <a:t>1</a:t>
            </a:r>
            <a:endParaRPr kumimoji="0" lang="en-CA" sz="14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7319D52E-A7FB-4FE5-9043-CE0F02A554CA}"/>
              </a:ext>
            </a:extLst>
          </p:cNvPr>
          <p:cNvSpPr/>
          <p:nvPr/>
        </p:nvSpPr>
        <p:spPr>
          <a:xfrm>
            <a:off x="1396659" y="3188416"/>
            <a:ext cx="539764" cy="32088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1A42519A-264A-47AD-9139-52653F5231C3}"/>
              </a:ext>
            </a:extLst>
          </p:cNvPr>
          <p:cNvSpPr/>
          <p:nvPr/>
        </p:nvSpPr>
        <p:spPr>
          <a:xfrm>
            <a:off x="751552" y="5617604"/>
            <a:ext cx="3492881" cy="903674"/>
          </a:xfrm>
          <a:prstGeom prst="rect">
            <a:avLst/>
          </a:prstGeom>
          <a:solidFill>
            <a:schemeClr val="bg1"/>
          </a:solidFill>
          <a:ln w="28575">
            <a:solidFill>
              <a:schemeClr val="tx2"/>
            </a:solidFill>
          </a:ln>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rPr>
              <a:t>USE HOME DEPOT COMMERCIAL CREDIT CARDLINKED 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rPr>
              <a:t>A PRO XTRA ACCOUNT</a:t>
            </a:r>
            <a:endParaRPr kumimoji="0" lang="en-CA" sz="1400" b="1" i="0" u="none" strike="noStrike" kern="1200" cap="none" spc="0" normalizeH="0" baseline="0" noProof="0" dirty="0">
              <a:ln>
                <a:noFill/>
              </a:ln>
              <a:solidFill>
                <a:srgbClr val="1C1C1C">
                  <a:lumMod val="75000"/>
                  <a:lumOff val="25000"/>
                </a:srgbClr>
              </a:solidFill>
              <a:effectLst/>
              <a:uLnTx/>
              <a:uFillTx/>
              <a:latin typeface="Calibri" panose="020F0502020204030204" pitchFamily="34" charset="0"/>
              <a:ea typeface="+mn-ea"/>
              <a:cs typeface="+mn-cs"/>
            </a:endParaRPr>
          </a:p>
        </p:txBody>
      </p:sp>
      <p:sp>
        <p:nvSpPr>
          <p:cNvPr id="49" name="Oval 48">
            <a:extLst>
              <a:ext uri="{FF2B5EF4-FFF2-40B4-BE49-F238E27FC236}">
                <a16:creationId xmlns:a16="http://schemas.microsoft.com/office/drawing/2014/main" id="{2A14E180-D8EA-4689-BD32-99D03B1FE459}"/>
              </a:ext>
            </a:extLst>
          </p:cNvPr>
          <p:cNvSpPr/>
          <p:nvPr/>
        </p:nvSpPr>
        <p:spPr>
          <a:xfrm>
            <a:off x="214102" y="5729081"/>
            <a:ext cx="725456" cy="68072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E8E8E8">
                    <a:lumMod val="50000"/>
                  </a:srgbClr>
                </a:solidFill>
                <a:effectLst/>
                <a:uLnTx/>
                <a:uFillTx/>
                <a:latin typeface="Arial"/>
                <a:ea typeface="+mn-ea"/>
                <a:cs typeface="+mn-cs"/>
              </a:rPr>
              <a:t>3</a:t>
            </a:r>
            <a:endParaRPr kumimoji="0" lang="en-CA" sz="32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pic>
        <p:nvPicPr>
          <p:cNvPr id="50" name="Picture 49">
            <a:extLst>
              <a:ext uri="{FF2B5EF4-FFF2-40B4-BE49-F238E27FC236}">
                <a16:creationId xmlns:a16="http://schemas.microsoft.com/office/drawing/2014/main" id="{E608FD01-3732-4CE2-B498-0E80982DBD1A}"/>
              </a:ext>
            </a:extLst>
          </p:cNvPr>
          <p:cNvPicPr>
            <a:picLocks noChangeAspect="1"/>
          </p:cNvPicPr>
          <p:nvPr/>
        </p:nvPicPr>
        <p:blipFill>
          <a:blip r:embed="rId9"/>
          <a:stretch>
            <a:fillRect/>
          </a:stretch>
        </p:blipFill>
        <p:spPr>
          <a:xfrm>
            <a:off x="4411696" y="5501674"/>
            <a:ext cx="1270633" cy="837719"/>
          </a:xfrm>
          <a:prstGeom prst="rect">
            <a:avLst/>
          </a:prstGeom>
          <a:effectLst>
            <a:outerShdw blurRad="50800" dist="38100" dir="10800000" algn="r" rotWithShape="0">
              <a:prstClr val="black">
                <a:alpha val="40000"/>
              </a:prstClr>
            </a:outerShdw>
          </a:effectLst>
        </p:spPr>
      </p:pic>
      <p:pic>
        <p:nvPicPr>
          <p:cNvPr id="51" name="Picture 50">
            <a:extLst>
              <a:ext uri="{FF2B5EF4-FFF2-40B4-BE49-F238E27FC236}">
                <a16:creationId xmlns:a16="http://schemas.microsoft.com/office/drawing/2014/main" id="{D2C8047C-A5B7-47BA-BF2F-58CC63696A20}"/>
              </a:ext>
            </a:extLst>
          </p:cNvPr>
          <p:cNvPicPr>
            <a:picLocks noChangeAspect="1"/>
          </p:cNvPicPr>
          <p:nvPr/>
        </p:nvPicPr>
        <p:blipFill>
          <a:blip r:embed="rId10"/>
          <a:stretch>
            <a:fillRect/>
          </a:stretch>
        </p:blipFill>
        <p:spPr>
          <a:xfrm>
            <a:off x="4948494" y="5841477"/>
            <a:ext cx="1253766" cy="820851"/>
          </a:xfrm>
          <a:prstGeom prst="rect">
            <a:avLst/>
          </a:prstGeom>
          <a:ln>
            <a:noFill/>
          </a:ln>
          <a:effectLst>
            <a:outerShdw blurRad="50800" dist="38100" dir="10800000" algn="r" rotWithShape="0">
              <a:prstClr val="black">
                <a:alpha val="40000"/>
              </a:prstClr>
            </a:outerShdw>
          </a:effectLst>
        </p:spPr>
      </p:pic>
      <p:grpSp>
        <p:nvGrpSpPr>
          <p:cNvPr id="9" name="Group 8">
            <a:extLst>
              <a:ext uri="{FF2B5EF4-FFF2-40B4-BE49-F238E27FC236}">
                <a16:creationId xmlns:a16="http://schemas.microsoft.com/office/drawing/2014/main" id="{879556CE-B555-4A7A-B9FC-12AE12CFFF0A}"/>
              </a:ext>
            </a:extLst>
          </p:cNvPr>
          <p:cNvGrpSpPr/>
          <p:nvPr/>
        </p:nvGrpSpPr>
        <p:grpSpPr>
          <a:xfrm>
            <a:off x="8745238" y="1801881"/>
            <a:ext cx="2861650" cy="4826860"/>
            <a:chOff x="8745238" y="1801881"/>
            <a:chExt cx="2861650" cy="4826860"/>
          </a:xfrm>
        </p:grpSpPr>
        <p:grpSp>
          <p:nvGrpSpPr>
            <p:cNvPr id="55" name="Group 54">
              <a:extLst>
                <a:ext uri="{FF2B5EF4-FFF2-40B4-BE49-F238E27FC236}">
                  <a16:creationId xmlns:a16="http://schemas.microsoft.com/office/drawing/2014/main" id="{27833D40-16BA-44CC-84DA-98C2C051AFCC}"/>
                </a:ext>
              </a:extLst>
            </p:cNvPr>
            <p:cNvGrpSpPr/>
            <p:nvPr/>
          </p:nvGrpSpPr>
          <p:grpSpPr>
            <a:xfrm>
              <a:off x="9094697" y="1801881"/>
              <a:ext cx="2512191" cy="4826860"/>
              <a:chOff x="7552866" y="1021756"/>
              <a:chExt cx="2679842" cy="4826860"/>
            </a:xfrm>
          </p:grpSpPr>
          <p:pic>
            <p:nvPicPr>
              <p:cNvPr id="56" name="Picture 55">
                <a:extLst>
                  <a:ext uri="{FF2B5EF4-FFF2-40B4-BE49-F238E27FC236}">
                    <a16:creationId xmlns:a16="http://schemas.microsoft.com/office/drawing/2014/main" id="{165875FD-DF71-456C-883A-DB1455782D8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foregroundMark x1="9598" y1="6518" x2="9598" y2="6518"/>
                            <a14:foregroundMark x1="17337" y1="5405" x2="17337" y2="5405"/>
                            <a14:foregroundMark x1="20743" y1="4134" x2="20743" y2="4134"/>
                            <a14:foregroundMark x1="28483" y1="3816" x2="28483" y2="3816"/>
                            <a14:foregroundMark x1="33437" y1="3816" x2="33437" y2="3816"/>
                            <a14:foregroundMark x1="38390" y1="3816" x2="38390" y2="3816"/>
                            <a14:foregroundMark x1="45820" y1="3816" x2="45820" y2="3816"/>
                            <a14:foregroundMark x1="52941" y1="4293" x2="52941" y2="4293"/>
                            <a14:foregroundMark x1="56966" y1="5246" x2="56966" y2="5246"/>
                            <a14:foregroundMark x1="61920" y1="5246" x2="61920" y2="5246"/>
                            <a14:foregroundMark x1="67183" y1="5882" x2="67183" y2="5882"/>
                            <a14:foregroundMark x1="82353" y1="1590" x2="82353" y2="1590"/>
                            <a14:foregroundMark x1="11146" y1="2067" x2="11146" y2="2067"/>
                            <a14:foregroundMark x1="13932" y1="1908" x2="13932" y2="1908"/>
                            <a14:foregroundMark x1="22291" y1="1749" x2="22291" y2="1749"/>
                            <a14:foregroundMark x1="31579" y1="1908" x2="31579" y2="1908"/>
                            <a14:foregroundMark x1="37771" y1="1908" x2="37771" y2="1908"/>
                            <a14:foregroundMark x1="44272" y1="1908" x2="44272" y2="1908"/>
                            <a14:foregroundMark x1="49226" y1="1908" x2="49226" y2="1908"/>
                            <a14:foregroundMark x1="56037" y1="1749" x2="56037" y2="1749"/>
                            <a14:foregroundMark x1="86378" y1="1908" x2="86378" y2="1908"/>
                            <a14:foregroundMark x1="90402" y1="2226" x2="90402" y2="2226"/>
                            <a14:foregroundMark x1="92879" y1="3975" x2="92879" y2="3975"/>
                            <a14:foregroundMark x1="96285" y1="8585" x2="96285" y2="8585"/>
                            <a14:foregroundMark x1="96285" y1="12560" x2="96285" y2="12560"/>
                            <a14:foregroundMark x1="96594" y1="20668" x2="96594" y2="20668"/>
                            <a14:foregroundMark x1="97214" y1="25119" x2="97214" y2="25119"/>
                            <a14:foregroundMark x1="96285" y1="40064" x2="96285" y2="40064"/>
                            <a14:foregroundMark x1="96285" y1="62480" x2="96285" y2="62480"/>
                            <a14:foregroundMark x1="96594" y1="76630" x2="96594" y2="76630"/>
                            <a14:foregroundMark x1="96594" y1="89030" x2="96594" y2="89030"/>
                            <a14:foregroundMark x1="78328" y1="98887" x2="78328" y2="98887"/>
                            <a14:foregroundMark x1="45820" y1="93959" x2="45820" y2="93959"/>
                            <a14:foregroundMark x1="61300" y1="94754" x2="61300" y2="94754"/>
                            <a14:foregroundMark x1="75851" y1="95231" x2="75851" y2="95231"/>
                            <a14:foregroundMark x1="86068" y1="92687" x2="86068" y2="92687"/>
                            <a14:foregroundMark x1="82663" y1="89348" x2="82663" y2="89348"/>
                            <a14:foregroundMark x1="71207" y1="90302" x2="71207" y2="90302"/>
                            <a14:foregroundMark x1="61300" y1="92051" x2="61300" y2="92051"/>
                            <a14:foregroundMark x1="53251" y1="92210" x2="53251" y2="92210"/>
                            <a14:foregroundMark x1="44272" y1="92210" x2="44272" y2="92210"/>
                            <a14:foregroundMark x1="39319" y1="92210" x2="39319" y2="92210"/>
                            <a14:foregroundMark x1="27554" y1="94595" x2="27554" y2="94595"/>
                            <a14:foregroundMark x1="25077" y1="95707" x2="25077" y2="95707"/>
                            <a14:foregroundMark x1="16409" y1="94754" x2="16409" y2="94754"/>
                            <a14:foregroundMark x1="9288" y1="93959" x2="9288" y2="93959"/>
                            <a14:foregroundMark x1="4025" y1="94913" x2="4025" y2="94913"/>
                            <a14:foregroundMark x1="16099" y1="99046" x2="16099" y2="99046"/>
                            <a14:foregroundMark x1="25697" y1="99046" x2="25697" y2="99046"/>
                            <a14:foregroundMark x1="31579" y1="98887" x2="31579" y2="98887"/>
                            <a14:foregroundMark x1="37461" y1="99046" x2="37461" y2="99046"/>
                            <a14:foregroundMark x1="42105" y1="99205" x2="42105" y2="99205"/>
                            <a14:foregroundMark x1="58204" y1="97297" x2="58204" y2="97297"/>
                            <a14:foregroundMark x1="46130" y1="97456" x2="46130" y2="97456"/>
                            <a14:foregroundMark x1="36223" y1="96661" x2="36223" y2="96661"/>
                            <a14:foregroundMark x1="34985" y1="94436" x2="34985" y2="94436"/>
                            <a14:foregroundMark x1="66873" y1="93482" x2="66873" y2="93482"/>
                            <a14:foregroundMark x1="67802" y1="96343" x2="67802" y2="96343"/>
                            <a14:foregroundMark x1="74923" y1="92528" x2="74923" y2="92528"/>
                            <a14:foregroundMark x1="79257" y1="91574" x2="79257" y2="91574"/>
                            <a14:foregroundMark x1="83591" y1="95072" x2="83591" y2="95072"/>
                            <a14:foregroundMark x1="79876" y1="96661" x2="79876" y2="96661"/>
                            <a14:foregroundMark x1="39628" y1="89030" x2="39628" y2="89030"/>
                            <a14:foregroundMark x1="29102" y1="91733" x2="29102" y2="91733"/>
                            <a14:foregroundMark x1="23529" y1="90620" x2="23529" y2="90620"/>
                            <a14:foregroundMark x1="31579" y1="88871" x2="31579" y2="88871"/>
                            <a14:foregroundMark x1="4025" y1="85533" x2="4025" y2="85533"/>
                            <a14:foregroundMark x1="3715" y1="81240" x2="3715" y2="81240"/>
                            <a14:foregroundMark x1="3096" y1="77107" x2="3096" y2="77107"/>
                            <a14:foregroundMark x1="3406" y1="74722" x2="3406" y2="74722"/>
                            <a14:foregroundMark x1="3715" y1="71860" x2="3715" y2="71860"/>
                            <a14:foregroundMark x1="3715" y1="69952" x2="3715" y2="69952"/>
                            <a14:foregroundMark x1="3715" y1="67568" x2="3715" y2="67568"/>
                            <a14:foregroundMark x1="3715" y1="65183" x2="3715" y2="65183"/>
                            <a14:foregroundMark x1="3406" y1="63911" x2="3406" y2="63911"/>
                            <a14:foregroundMark x1="3406" y1="61367" x2="3406" y2="61367"/>
                            <a14:foregroundMark x1="3715" y1="58824" x2="3715" y2="58824"/>
                            <a14:foregroundMark x1="3715" y1="55803" x2="3715" y2="55803"/>
                            <a14:foregroundMark x1="3406" y1="53577" x2="3406" y2="53577"/>
                            <a14:foregroundMark x1="3406" y1="50715" x2="3406" y2="50715"/>
                            <a14:foregroundMark x1="3406" y1="48331" x2="3406" y2="48331"/>
                            <a14:foregroundMark x1="3406" y1="46900" x2="3406" y2="46900"/>
                            <a14:foregroundMark x1="3406" y1="44515" x2="3406" y2="44515"/>
                            <a14:foregroundMark x1="3406" y1="42766" x2="3406" y2="42766"/>
                            <a14:foregroundMark x1="3406" y1="40541" x2="3406" y2="40541"/>
                            <a14:foregroundMark x1="3406" y1="37838" x2="3406" y2="37838"/>
                            <a14:foregroundMark x1="3406" y1="36566" x2="3406" y2="36566"/>
                            <a14:foregroundMark x1="3715" y1="34181" x2="3715" y2="34181"/>
                            <a14:foregroundMark x1="3715" y1="32750" x2="3715" y2="32750"/>
                            <a14:foregroundMark x1="1238" y1="29730" x2="1238" y2="29730"/>
                            <a14:foregroundMark x1="4025" y1="30366" x2="4025" y2="30366"/>
                            <a14:foregroundMark x1="2167" y1="29253" x2="2167" y2="29253"/>
                            <a14:foregroundMark x1="3715" y1="27186" x2="3715" y2="27186"/>
                            <a14:foregroundMark x1="4025" y1="24483" x2="4025" y2="24483"/>
                            <a14:foregroundMark x1="1858" y1="23688" x2="1858" y2="23688"/>
                            <a14:foregroundMark x1="2167" y1="21463" x2="2167" y2="21463"/>
                            <a14:foregroundMark x1="4025" y1="21622" x2="4025" y2="21622"/>
                            <a14:foregroundMark x1="4025" y1="18124" x2="4025" y2="18124"/>
                            <a14:foregroundMark x1="2786" y1="17011" x2="2786" y2="17011"/>
                            <a14:foregroundMark x1="4334" y1="15103" x2="4334" y2="15103"/>
                            <a14:foregroundMark x1="4334" y1="12242" x2="4334" y2="12242"/>
                            <a14:foregroundMark x1="4025" y1="10493" x2="4025" y2="10493"/>
                            <a14:foregroundMark x1="4334" y1="8903" x2="4334" y2="8903"/>
                            <a14:foregroundMark x1="5573" y1="7154" x2="5573" y2="7154"/>
                            <a14:foregroundMark x1="8050" y1="5087" x2="8050" y2="5087"/>
                            <a14:foregroundMark x1="10526" y1="4610" x2="10526" y2="4610"/>
                            <a14:foregroundMark x1="15480" y1="3975" x2="15480" y2="3975"/>
                            <a14:foregroundMark x1="46440" y1="7631" x2="46440" y2="7631"/>
                            <a14:foregroundMark x1="52012" y1="8426" x2="52012" y2="8426"/>
                            <a14:foregroundMark x1="52632" y1="5882" x2="52632" y2="5882"/>
                            <a14:foregroundMark x1="55108" y1="3339" x2="55108" y2="3339"/>
                            <a14:foregroundMark x1="60062" y1="2544" x2="60062" y2="2544"/>
                            <a14:foregroundMark x1="64087" y1="2385" x2="64087" y2="2385"/>
                            <a14:foregroundMark x1="67492" y1="2226" x2="67492" y2="2226"/>
                            <a14:foregroundMark x1="73375" y1="4134" x2="73375" y2="4134"/>
                            <a14:foregroundMark x1="71827" y1="6677" x2="71827" y2="6677"/>
                            <a14:foregroundMark x1="74923" y1="8426" x2="74923" y2="8426"/>
                            <a14:foregroundMark x1="75851" y1="6359" x2="75851" y2="6359"/>
                            <a14:foregroundMark x1="78638" y1="4293" x2="78638" y2="4293"/>
                            <a14:foregroundMark x1="95046" y1="14626" x2="95046" y2="14626"/>
                            <a14:foregroundMark x1="96285" y1="16852" x2="96285" y2="16852"/>
                            <a14:foregroundMark x1="94737" y1="18601" x2="94737" y2="18601"/>
                            <a14:foregroundMark x1="94737" y1="23370" x2="94737" y2="23370"/>
                            <a14:foregroundMark x1="94737" y1="26073" x2="94737" y2="26073"/>
                            <a14:foregroundMark x1="95046" y1="28935" x2="95046" y2="28935"/>
                            <a14:foregroundMark x1="95046" y1="31161" x2="95046" y2="31161"/>
                            <a14:foregroundMark x1="95356" y1="33386" x2="95356" y2="33386"/>
                            <a14:foregroundMark x1="95356" y1="35135" x2="95356" y2="35135"/>
                            <a14:foregroundMark x1="94737" y1="36566" x2="94737" y2="36566"/>
                            <a14:foregroundMark x1="94737" y1="42607" x2="94737" y2="42607"/>
                            <a14:foregroundMark x1="95356" y1="44992" x2="95356" y2="44992"/>
                            <a14:foregroundMark x1="96285" y1="43402" x2="96285" y2="43402"/>
                            <a14:foregroundMark x1="95666" y1="46582" x2="95666" y2="46582"/>
                            <a14:foregroundMark x1="95666" y1="49126" x2="95666" y2="49126"/>
                            <a14:foregroundMark x1="95975" y1="50397" x2="95975" y2="50397"/>
                            <a14:foregroundMark x1="95975" y1="51669" x2="95975" y2="51669"/>
                            <a14:foregroundMark x1="95666" y1="52941" x2="95666" y2="52941"/>
                            <a14:foregroundMark x1="95356" y1="54372" x2="95356" y2="54372"/>
                            <a14:foregroundMark x1="94737" y1="55485" x2="94737" y2="55485"/>
                            <a14:foregroundMark x1="94737" y1="57075" x2="94737" y2="57075"/>
                            <a14:foregroundMark x1="94737" y1="58347" x2="94737" y2="58347"/>
                            <a14:foregroundMark x1="94737" y1="59300" x2="94737" y2="59300"/>
                            <a14:foregroundMark x1="94737" y1="61526" x2="94737" y2="61526"/>
                            <a14:foregroundMark x1="95356" y1="64706" x2="95356" y2="64706"/>
                            <a14:foregroundMark x1="95975" y1="67091" x2="95975" y2="67091"/>
                            <a14:foregroundMark x1="95975" y1="68362" x2="95975" y2="68362"/>
                            <a14:foregroundMark x1="95975" y1="69952" x2="95975" y2="69952"/>
                            <a14:foregroundMark x1="95975" y1="71224" x2="96285" y2="71542"/>
                            <a14:foregroundMark x1="96285" y1="73132" x2="96285" y2="73132"/>
                            <a14:foregroundMark x1="96285" y1="74404" x2="96285" y2="74404"/>
                            <a14:foregroundMark x1="95046" y1="75994" x2="95046" y2="75994"/>
                          </a14:backgroundRemoval>
                        </a14:imgEffect>
                      </a14:imgLayer>
                    </a14:imgProps>
                  </a:ext>
                </a:extLst>
              </a:blip>
              <a:stretch>
                <a:fillRect/>
              </a:stretch>
            </p:blipFill>
            <p:spPr>
              <a:xfrm>
                <a:off x="7552866" y="1021756"/>
                <a:ext cx="2679842" cy="4826860"/>
              </a:xfrm>
              <a:prstGeom prst="rect">
                <a:avLst/>
              </a:prstGeom>
              <a:effectLst>
                <a:outerShdw blurRad="50800" dist="38100" dir="2700000" algn="tl" rotWithShape="0">
                  <a:prstClr val="black">
                    <a:alpha val="40000"/>
                  </a:prstClr>
                </a:outerShdw>
              </a:effectLst>
            </p:spPr>
          </p:pic>
          <p:pic>
            <p:nvPicPr>
              <p:cNvPr id="57" name="186A4E3D-395C-4CD1-9492-BAC42A63A391" descr="image1.png">
                <a:extLst>
                  <a:ext uri="{FF2B5EF4-FFF2-40B4-BE49-F238E27FC236}">
                    <a16:creationId xmlns:a16="http://schemas.microsoft.com/office/drawing/2014/main" id="{39369D65-26CD-4B93-8994-AB1977EFA04E}"/>
                  </a:ext>
                </a:extLst>
              </p:cNvPr>
              <p:cNvPicPr>
                <a:picLocks noChangeAspect="1" noChangeArrowheads="1"/>
              </p:cNvPicPr>
              <p:nvPr/>
            </p:nvPicPr>
            <p:blipFill rotWithShape="1">
              <a:blip r:embed="rId11" r:link="rId12" cstate="print">
                <a:extLst>
                  <a:ext uri="{28A0092B-C50C-407E-A947-70E740481C1C}">
                    <a14:useLocalDpi xmlns:a14="http://schemas.microsoft.com/office/drawing/2010/main" val="0"/>
                  </a:ext>
                </a:extLst>
              </a:blip>
              <a:srcRect b="4867"/>
              <a:stretch>
                <a:fillRect/>
              </a:stretch>
            </p:blipFill>
            <p:spPr bwMode="auto">
              <a:xfrm>
                <a:off x="7696200" y="1543715"/>
                <a:ext cx="2350126" cy="367742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34E5E17A-E30A-42EE-8C51-725BB476D1F4}"/>
                  </a:ext>
                </a:extLst>
              </p:cNvPr>
              <p:cNvSpPr/>
              <p:nvPr/>
            </p:nvSpPr>
            <p:spPr>
              <a:xfrm>
                <a:off x="7798605" y="2184252"/>
                <a:ext cx="2188363" cy="119693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ABE53CE7-A28F-476B-9FC8-E494A5C9CA44}"/>
                  </a:ext>
                </a:extLst>
              </p:cNvPr>
              <p:cNvSpPr/>
              <p:nvPr/>
            </p:nvSpPr>
            <p:spPr>
              <a:xfrm>
                <a:off x="8077200" y="2332573"/>
                <a:ext cx="1676400" cy="3614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60" name="Picture 59" descr="Logo, company name&#10;&#10;Description automatically generated">
                <a:extLst>
                  <a:ext uri="{FF2B5EF4-FFF2-40B4-BE49-F238E27FC236}">
                    <a16:creationId xmlns:a16="http://schemas.microsoft.com/office/drawing/2014/main" id="{2C4BBDE5-2AC6-4110-BA47-DE638675427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281217" y="2329930"/>
                <a:ext cx="1092187" cy="364062"/>
              </a:xfrm>
              <a:prstGeom prst="rect">
                <a:avLst/>
              </a:prstGeom>
            </p:spPr>
          </p:pic>
        </p:grpSp>
        <p:cxnSp>
          <p:nvCxnSpPr>
            <p:cNvPr id="53" name="Straight Connector 52">
              <a:extLst>
                <a:ext uri="{FF2B5EF4-FFF2-40B4-BE49-F238E27FC236}">
                  <a16:creationId xmlns:a16="http://schemas.microsoft.com/office/drawing/2014/main" id="{AED9FCF2-8146-403F-81A6-437357A232E5}"/>
                </a:ext>
              </a:extLst>
            </p:cNvPr>
            <p:cNvCxnSpPr>
              <a:cxnSpLocks/>
            </p:cNvCxnSpPr>
            <p:nvPr/>
          </p:nvCxnSpPr>
          <p:spPr>
            <a:xfrm flipH="1">
              <a:off x="8745238" y="3896632"/>
              <a:ext cx="579825" cy="0"/>
            </a:xfrm>
            <a:prstGeom prst="lin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 name="Title 2">
            <a:extLst>
              <a:ext uri="{FF2B5EF4-FFF2-40B4-BE49-F238E27FC236}">
                <a16:creationId xmlns:a16="http://schemas.microsoft.com/office/drawing/2014/main" id="{FDE29A34-1582-468C-954D-DF4BF9B1B40F}"/>
              </a:ext>
            </a:extLst>
          </p:cNvPr>
          <p:cNvSpPr>
            <a:spLocks noGrp="1"/>
          </p:cNvSpPr>
          <p:nvPr>
            <p:ph type="title"/>
          </p:nvPr>
        </p:nvSpPr>
        <p:spPr/>
        <p:txBody>
          <a:bodyPr/>
          <a:lstStyle/>
          <a:p>
            <a:pPr>
              <a:lnSpc>
                <a:spcPct val="150000"/>
              </a:lnSpc>
            </a:pPr>
            <a:r>
              <a:rPr lang="en-US" dirty="0"/>
              <a:t>      </a:t>
            </a:r>
            <a:endParaRPr lang="en-US" b="0" dirty="0">
              <a:solidFill>
                <a:schemeClr val="bg2">
                  <a:lumMod val="50000"/>
                </a:schemeClr>
              </a:solidFill>
            </a:endParaRPr>
          </a:p>
        </p:txBody>
      </p:sp>
      <p:sp>
        <p:nvSpPr>
          <p:cNvPr id="29" name="Callout: Line 28">
            <a:extLst>
              <a:ext uri="{FF2B5EF4-FFF2-40B4-BE49-F238E27FC236}">
                <a16:creationId xmlns:a16="http://schemas.microsoft.com/office/drawing/2014/main" id="{89F46EA1-30C1-4014-B9A9-4DD9A186A1BC}"/>
              </a:ext>
            </a:extLst>
          </p:cNvPr>
          <p:cNvSpPr/>
          <p:nvPr/>
        </p:nvSpPr>
        <p:spPr>
          <a:xfrm>
            <a:off x="824002" y="4650143"/>
            <a:ext cx="1273662" cy="512700"/>
          </a:xfrm>
          <a:prstGeom prst="borderCallout1">
            <a:avLst>
              <a:gd name="adj1" fmla="val 2353"/>
              <a:gd name="adj2" fmla="val 51064"/>
              <a:gd name="adj3" fmla="val -220334"/>
              <a:gd name="adj4" fmla="val 64582"/>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C1C1C"/>
                </a:solidFill>
                <a:effectLst/>
                <a:uLnTx/>
                <a:uFillTx/>
                <a:latin typeface="Arial"/>
                <a:ea typeface="+mn-ea"/>
                <a:cs typeface="+mn-cs"/>
              </a:rPr>
              <a:t>“Enter Pro Xtra ID”</a:t>
            </a:r>
          </a:p>
        </p:txBody>
      </p:sp>
      <p:sp>
        <p:nvSpPr>
          <p:cNvPr id="54" name="Callout: Line 53">
            <a:extLst>
              <a:ext uri="{FF2B5EF4-FFF2-40B4-BE49-F238E27FC236}">
                <a16:creationId xmlns:a16="http://schemas.microsoft.com/office/drawing/2014/main" id="{B756591E-49AC-4A31-941D-69B3E25C3409}"/>
              </a:ext>
            </a:extLst>
          </p:cNvPr>
          <p:cNvSpPr/>
          <p:nvPr/>
        </p:nvSpPr>
        <p:spPr>
          <a:xfrm>
            <a:off x="3466433" y="4661864"/>
            <a:ext cx="1273662" cy="512700"/>
          </a:xfrm>
          <a:prstGeom prst="borderCallout1">
            <a:avLst>
              <a:gd name="adj1" fmla="val 2353"/>
              <a:gd name="adj2" fmla="val 51064"/>
              <a:gd name="adj3" fmla="val -309509"/>
              <a:gd name="adj4" fmla="val 43967"/>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C1C1C"/>
                </a:solidFill>
                <a:effectLst/>
                <a:uLnTx/>
                <a:uFillTx/>
                <a:latin typeface="Arial"/>
                <a:ea typeface="+mn-ea"/>
                <a:cs typeface="+mn-cs"/>
              </a:rPr>
              <a:t>### - ### - ####</a:t>
            </a:r>
          </a:p>
        </p:txBody>
      </p:sp>
      <p:sp>
        <p:nvSpPr>
          <p:cNvPr id="2" name="TextBox 1">
            <a:extLst>
              <a:ext uri="{FF2B5EF4-FFF2-40B4-BE49-F238E27FC236}">
                <a16:creationId xmlns:a16="http://schemas.microsoft.com/office/drawing/2014/main" id="{74901F2A-48A2-4DE2-AFAB-0E37CF048897}"/>
              </a:ext>
            </a:extLst>
          </p:cNvPr>
          <p:cNvSpPr txBox="1"/>
          <p:nvPr/>
        </p:nvSpPr>
        <p:spPr>
          <a:xfrm>
            <a:off x="416478" y="36920"/>
            <a:ext cx="881258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58220"/>
                </a:solidFill>
                <a:effectLst/>
                <a:uLnTx/>
                <a:uFillTx/>
                <a:latin typeface="Arial" panose="020B0604020202020204" pitchFamily="34" charset="0"/>
                <a:ea typeface="+mn-ea"/>
                <a:cs typeface="Arial" panose="020B0604020202020204" pitchFamily="34" charset="0"/>
              </a:rPr>
              <a:t>Pro Xtra ID </a:t>
            </a:r>
            <a:r>
              <a:rPr kumimoji="0" lang="en-US" sz="2800" b="1" i="0" u="none" strike="noStrike" kern="1200" cap="none" spc="0" normalizeH="0" baseline="0" noProof="0" dirty="0">
                <a:ln>
                  <a:noFill/>
                </a:ln>
                <a:solidFill>
                  <a:srgbClr val="1C1C1C">
                    <a:lumMod val="50000"/>
                    <a:lumOff val="50000"/>
                  </a:srgbClr>
                </a:solidFill>
                <a:effectLst/>
                <a:uLnTx/>
                <a:uFillTx/>
                <a:latin typeface="Arial" panose="020B0604020202020204" pitchFamily="34" charset="0"/>
                <a:ea typeface="+mn-ea"/>
                <a:cs typeface="Arial" panose="020B0604020202020204" pitchFamily="34" charset="0"/>
              </a:rPr>
              <a:t>| </a:t>
            </a:r>
            <a:r>
              <a:rPr kumimoji="0" lang="en-US" sz="2800" b="0" i="0" u="none" strike="noStrike" kern="1200" cap="none" spc="0" normalizeH="0" baseline="0" noProof="0" dirty="0">
                <a:ln>
                  <a:noFill/>
                </a:ln>
                <a:solidFill>
                  <a:srgbClr val="1C1C1C">
                    <a:lumMod val="50000"/>
                    <a:lumOff val="50000"/>
                  </a:srgbClr>
                </a:solidFill>
                <a:effectLst/>
                <a:uLnTx/>
                <a:uFillTx/>
                <a:latin typeface="Arial" panose="020B0604020202020204" pitchFamily="34" charset="0"/>
                <a:ea typeface="+mn-ea"/>
                <a:cs typeface="Arial" panose="020B0604020202020204" pitchFamily="34" charset="0"/>
              </a:rPr>
              <a:t>at Check out</a:t>
            </a:r>
            <a:endParaRPr kumimoji="0" lang="en-CA" sz="2800" b="0" i="0" u="none" strike="noStrike" kern="1200" cap="none" spc="0" normalizeH="0" baseline="0" noProof="0" dirty="0">
              <a:ln>
                <a:noFill/>
              </a:ln>
              <a:solidFill>
                <a:srgbClr val="1C1C1C">
                  <a:lumMod val="50000"/>
                  <a:lumOff val="50000"/>
                </a:srgbClr>
              </a:solidFill>
              <a:effectLst/>
              <a:uLnTx/>
              <a:uFillTx/>
              <a:latin typeface="Arial"/>
              <a:ea typeface="+mn-ea"/>
              <a:cs typeface="+mn-cs"/>
            </a:endParaRPr>
          </a:p>
        </p:txBody>
      </p:sp>
    </p:spTree>
    <p:extLst>
      <p:ext uri="{BB962C8B-B14F-4D97-AF65-F5344CB8AC3E}">
        <p14:creationId xmlns:p14="http://schemas.microsoft.com/office/powerpoint/2010/main" val="24727629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4379377-BF9A-447D-B36D-969708AA8C3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6BDDE3B-6E17-4A89-9F93-DBB317C0A6AD}" type="slidenum">
              <a:rPr kumimoji="0" lang="en-US" sz="900" b="1" i="0" u="none" strike="noStrike" kern="1200" cap="none" spc="0" normalizeH="0" baseline="0" noProof="0" smtClean="0">
                <a:ln>
                  <a:noFill/>
                </a:ln>
                <a:solidFill>
                  <a:srgbClr val="1C1C1C"/>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1" i="0" u="none" strike="noStrike" kern="1200" cap="none" spc="0" normalizeH="0" baseline="0" noProof="0" dirty="0">
              <a:ln>
                <a:noFill/>
              </a:ln>
              <a:solidFill>
                <a:srgbClr val="1C1C1C"/>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4F044706-D606-4048-A3B3-BC5BBF4B0F64}"/>
              </a:ext>
            </a:extLst>
          </p:cNvPr>
          <p:cNvSpPr txBox="1"/>
          <p:nvPr/>
        </p:nvSpPr>
        <p:spPr>
          <a:xfrm>
            <a:off x="869902" y="2033557"/>
            <a:ext cx="2535213" cy="7386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r Personal and Company Information</a:t>
            </a:r>
          </a:p>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r Pro </a:t>
            </a:r>
            <a:r>
              <a:rPr kumimoji="0" lang="en-US" sz="1400" b="0" i="0" u="none" strike="noStrike" kern="1200" cap="none" spc="0" normalizeH="0" baseline="0" noProof="0" dirty="0" err="1">
                <a:ln>
                  <a:noFill/>
                </a:ln>
                <a:solidFill>
                  <a:srgbClr val="1C1C1C">
                    <a:lumMod val="75000"/>
                    <a:lumOff val="25000"/>
                  </a:srgbClr>
                </a:solidFill>
                <a:effectLst/>
                <a:uLnTx/>
                <a:uFillTx/>
                <a:latin typeface="Arial"/>
                <a:ea typeface="+mn-ea"/>
                <a:cs typeface="+mn-cs"/>
              </a:rPr>
              <a:t>Xtra</a:t>
            </a: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 ID</a:t>
            </a:r>
          </a:p>
        </p:txBody>
      </p:sp>
      <p:sp>
        <p:nvSpPr>
          <p:cNvPr id="14" name="TextBox 13">
            <a:extLst>
              <a:ext uri="{FF2B5EF4-FFF2-40B4-BE49-F238E27FC236}">
                <a16:creationId xmlns:a16="http://schemas.microsoft.com/office/drawing/2014/main" id="{4C760B90-E65E-4D71-B308-EAC9A736477D}"/>
              </a:ext>
            </a:extLst>
          </p:cNvPr>
          <p:cNvSpPr txBox="1"/>
          <p:nvPr/>
        </p:nvSpPr>
        <p:spPr>
          <a:xfrm>
            <a:off x="869902" y="3018658"/>
            <a:ext cx="2535213" cy="2677656"/>
          </a:xfrm>
          <a:prstGeom prst="rect">
            <a:avLst/>
          </a:prstGeom>
          <a:noFill/>
        </p:spPr>
        <p:txBody>
          <a:bodyPr wrap="square" rtlCol="0">
            <a:spAutoFit/>
          </a:bodyPr>
          <a:lstStyle>
            <a:defPPr>
              <a:defRPr lang="en-US"/>
            </a:defPPr>
            <a:lvl1pPr marL="285750" indent="-285750">
              <a:buClr>
                <a:schemeClr val="tx2"/>
              </a:buClr>
              <a:buFont typeface="Wingdings" panose="05000000000000000000" pitchFamily="2" charset="2"/>
              <a:buChar char="ü"/>
              <a:defRPr sz="1400"/>
            </a:lvl1p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r current Reward Tier</a:t>
            </a:r>
          </a:p>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r Total Spend – </a:t>
            </a:r>
            <a:r>
              <a:rPr kumimoji="0" lang="en-US" sz="1400" b="0" i="1" u="none" strike="noStrike" kern="1200" cap="none" spc="0" normalizeH="0" baseline="0" noProof="0" dirty="0">
                <a:ln>
                  <a:noFill/>
                </a:ln>
                <a:solidFill>
                  <a:srgbClr val="1C1C1C">
                    <a:lumMod val="75000"/>
                    <a:lumOff val="25000"/>
                  </a:srgbClr>
                </a:solidFill>
                <a:effectLst/>
                <a:uLnTx/>
                <a:uFillTx/>
                <a:latin typeface="Arial"/>
                <a:ea typeface="+mn-ea"/>
                <a:cs typeface="+mn-cs"/>
              </a:rPr>
              <a:t>this</a:t>
            </a: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 </a:t>
            </a:r>
            <a:r>
              <a:rPr kumimoji="0" lang="en-US" sz="1400" b="0" i="1" u="none" strike="noStrike" kern="1200" cap="none" spc="0" normalizeH="0" baseline="0" noProof="0" dirty="0">
                <a:ln>
                  <a:noFill/>
                </a:ln>
                <a:solidFill>
                  <a:srgbClr val="1C1C1C">
                    <a:lumMod val="75000"/>
                    <a:lumOff val="25000"/>
                  </a:srgbClr>
                </a:solidFill>
                <a:effectLst/>
                <a:uLnTx/>
                <a:uFillTx/>
                <a:latin typeface="Arial"/>
                <a:ea typeface="+mn-ea"/>
                <a:cs typeface="+mn-cs"/>
              </a:rPr>
              <a:t>is your Company’s total spend in the last 12 months</a:t>
            </a:r>
          </a:p>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r Paint Spend – </a:t>
            </a:r>
            <a:r>
              <a:rPr kumimoji="0" lang="en-US" sz="1400" b="0" i="1" u="none" strike="noStrike" kern="1200" cap="none" spc="0" normalizeH="0" baseline="0" noProof="0" dirty="0">
                <a:ln>
                  <a:noFill/>
                </a:ln>
                <a:solidFill>
                  <a:srgbClr val="1C1C1C">
                    <a:lumMod val="75000"/>
                    <a:lumOff val="25000"/>
                  </a:srgbClr>
                </a:solidFill>
                <a:effectLst/>
                <a:uLnTx/>
                <a:uFillTx/>
                <a:latin typeface="Arial"/>
                <a:ea typeface="+mn-ea"/>
                <a:cs typeface="+mn-cs"/>
              </a:rPr>
              <a:t>this</a:t>
            </a: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 </a:t>
            </a:r>
            <a:r>
              <a:rPr kumimoji="0" lang="en-US" sz="1400" b="0" i="1" u="none" strike="noStrike" kern="1200" cap="none" spc="0" normalizeH="0" baseline="0" noProof="0" dirty="0">
                <a:ln>
                  <a:noFill/>
                </a:ln>
                <a:solidFill>
                  <a:srgbClr val="1C1C1C">
                    <a:lumMod val="75000"/>
                    <a:lumOff val="25000"/>
                  </a:srgbClr>
                </a:solidFill>
                <a:effectLst/>
                <a:uLnTx/>
                <a:uFillTx/>
                <a:latin typeface="Arial"/>
                <a:ea typeface="+mn-ea"/>
                <a:cs typeface="+mn-cs"/>
              </a:rPr>
              <a:t>is your Company’s total spend on Qualifying Paint products in the last 12 months. It is a sub-set of your Total Spend</a:t>
            </a:r>
          </a:p>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1C1C1C"/>
              </a:solidFill>
              <a:effectLst/>
              <a:uLnTx/>
              <a:uFillTx/>
              <a:latin typeface="Arial"/>
              <a:ea typeface="+mn-ea"/>
              <a:cs typeface="+mn-cs"/>
            </a:endParaRPr>
          </a:p>
        </p:txBody>
      </p:sp>
      <p:sp>
        <p:nvSpPr>
          <p:cNvPr id="15" name="TextBox 14">
            <a:extLst>
              <a:ext uri="{FF2B5EF4-FFF2-40B4-BE49-F238E27FC236}">
                <a16:creationId xmlns:a16="http://schemas.microsoft.com/office/drawing/2014/main" id="{0C827F19-E741-4BA9-8763-6378C2E7482E}"/>
              </a:ext>
            </a:extLst>
          </p:cNvPr>
          <p:cNvSpPr txBox="1"/>
          <p:nvPr/>
        </p:nvSpPr>
        <p:spPr>
          <a:xfrm>
            <a:off x="377115" y="785327"/>
            <a:ext cx="11344795"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1C1C1C">
                    <a:lumMod val="75000"/>
                    <a:lumOff val="25000"/>
                  </a:srgbClr>
                </a:solidFill>
                <a:effectLst/>
                <a:uLnTx/>
                <a:uFillTx/>
                <a:latin typeface="Arial"/>
                <a:ea typeface="+mn-ea"/>
                <a:cs typeface="+mn-cs"/>
              </a:rPr>
              <a:t>Your personalized Home Page is the hub to view your most recent activity with The Home Depo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srgbClr val="1C1C1C">
                  <a:lumMod val="75000"/>
                  <a:lumOff val="2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1C1C1C">
                    <a:lumMod val="75000"/>
                    <a:lumOff val="25000"/>
                  </a:srgbClr>
                </a:solidFill>
                <a:effectLst/>
                <a:uLnTx/>
                <a:uFillTx/>
                <a:latin typeface="Arial"/>
                <a:ea typeface="+mn-ea"/>
                <a:cs typeface="+mn-cs"/>
              </a:rPr>
              <a:t>It includes:</a:t>
            </a:r>
          </a:p>
        </p:txBody>
      </p:sp>
      <p:sp>
        <p:nvSpPr>
          <p:cNvPr id="19" name="TextBox 18">
            <a:extLst>
              <a:ext uri="{FF2B5EF4-FFF2-40B4-BE49-F238E27FC236}">
                <a16:creationId xmlns:a16="http://schemas.microsoft.com/office/drawing/2014/main" id="{A19D57ED-8458-424A-9A4D-956437F6CEB2}"/>
              </a:ext>
            </a:extLst>
          </p:cNvPr>
          <p:cNvSpPr txBox="1"/>
          <p:nvPr/>
        </p:nvSpPr>
        <p:spPr>
          <a:xfrm>
            <a:off x="806486" y="5601920"/>
            <a:ext cx="2724752" cy="954107"/>
          </a:xfrm>
          <a:prstGeom prst="rect">
            <a:avLst/>
          </a:prstGeom>
          <a:noFill/>
        </p:spPr>
        <p:txBody>
          <a:bodyPr wrap="square" rtlCol="0">
            <a:spAutoFit/>
          </a:bodyPr>
          <a:lstStyle>
            <a:defPPr>
              <a:defRPr lang="en-US"/>
            </a:defPPr>
            <a:lvl1pPr marL="285750" indent="-285750">
              <a:buClr>
                <a:schemeClr val="tx2"/>
              </a:buClr>
              <a:buFont typeface="Wingdings" panose="05000000000000000000" pitchFamily="2" charset="2"/>
              <a:buChar char="ü"/>
              <a:defRPr sz="1400"/>
            </a:lvl1p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Recent Purchases – Shows the last 10 online or in-store purchases made with your Pro </a:t>
            </a:r>
            <a:r>
              <a:rPr kumimoji="0" lang="en-US" sz="1400" b="0" i="0" u="none" strike="noStrike" kern="1200" cap="none" spc="0" normalizeH="0" baseline="0" noProof="0" dirty="0" err="1">
                <a:ln>
                  <a:noFill/>
                </a:ln>
                <a:solidFill>
                  <a:srgbClr val="1C1C1C">
                    <a:lumMod val="75000"/>
                    <a:lumOff val="25000"/>
                  </a:srgbClr>
                </a:solidFill>
                <a:effectLst/>
                <a:uLnTx/>
                <a:uFillTx/>
                <a:latin typeface="Arial"/>
                <a:ea typeface="+mn-ea"/>
                <a:cs typeface="+mn-cs"/>
              </a:rPr>
              <a:t>Xtra</a:t>
            </a: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 ID</a:t>
            </a:r>
          </a:p>
        </p:txBody>
      </p:sp>
      <p:pic>
        <p:nvPicPr>
          <p:cNvPr id="3" name="Picture 2">
            <a:extLst>
              <a:ext uri="{FF2B5EF4-FFF2-40B4-BE49-F238E27FC236}">
                <a16:creationId xmlns:a16="http://schemas.microsoft.com/office/drawing/2014/main" id="{8104C82E-B038-4B4F-997F-666CEBD4A075}"/>
              </a:ext>
            </a:extLst>
          </p:cNvPr>
          <p:cNvPicPr>
            <a:picLocks noChangeAspect="1"/>
          </p:cNvPicPr>
          <p:nvPr/>
        </p:nvPicPr>
        <p:blipFill rotWithShape="1">
          <a:blip r:embed="rId2"/>
          <a:srcRect t="19421"/>
          <a:stretch/>
        </p:blipFill>
        <p:spPr>
          <a:xfrm>
            <a:off x="3711729" y="1580888"/>
            <a:ext cx="8480271" cy="3949638"/>
          </a:xfrm>
          <a:prstGeom prst="rect">
            <a:avLst/>
          </a:prstGeom>
        </p:spPr>
      </p:pic>
      <p:sp>
        <p:nvSpPr>
          <p:cNvPr id="12" name="TextBox 11">
            <a:extLst>
              <a:ext uri="{FF2B5EF4-FFF2-40B4-BE49-F238E27FC236}">
                <a16:creationId xmlns:a16="http://schemas.microsoft.com/office/drawing/2014/main" id="{2E01C570-FD68-4FE8-996D-197337EC1FFF}"/>
              </a:ext>
            </a:extLst>
          </p:cNvPr>
          <p:cNvSpPr txBox="1"/>
          <p:nvPr/>
        </p:nvSpPr>
        <p:spPr>
          <a:xfrm>
            <a:off x="4043987" y="4452260"/>
            <a:ext cx="553022" cy="1425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sp>
        <p:nvSpPr>
          <p:cNvPr id="23" name="Title 1">
            <a:extLst>
              <a:ext uri="{FF2B5EF4-FFF2-40B4-BE49-F238E27FC236}">
                <a16:creationId xmlns:a16="http://schemas.microsoft.com/office/drawing/2014/main" id="{58485147-120C-4072-9014-192A9774A027}"/>
              </a:ext>
            </a:extLst>
          </p:cNvPr>
          <p:cNvSpPr>
            <a:spLocks noGrp="1"/>
          </p:cNvSpPr>
          <p:nvPr>
            <p:ph type="title"/>
          </p:nvPr>
        </p:nvSpPr>
        <p:spPr>
          <a:xfrm>
            <a:off x="437076" y="153944"/>
            <a:ext cx="9214924" cy="442287"/>
          </a:xfrm>
          <a:noFill/>
        </p:spPr>
        <p:txBody>
          <a:bodyPr>
            <a:noAutofit/>
          </a:bodyPr>
          <a:lstStyle/>
          <a:p>
            <a:r>
              <a:rPr lang="en-US" dirty="0"/>
              <a:t>Pro Xtra member </a:t>
            </a:r>
            <a:r>
              <a:rPr kumimoji="0" lang="en-US"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j-ea"/>
                <a:cs typeface="Arial" panose="020B0604020202020204" pitchFamily="34" charset="0"/>
              </a:rPr>
              <a:t>| </a:t>
            </a:r>
            <a:r>
              <a:rPr kumimoji="0" lang="en-US"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j-ea"/>
                <a:cs typeface="Arial" panose="020B0604020202020204" pitchFamily="34" charset="0"/>
              </a:rPr>
              <a:t>B2B tracking - online Account  </a:t>
            </a:r>
            <a:endParaRPr lang="en-CA" dirty="0"/>
          </a:p>
        </p:txBody>
      </p:sp>
      <p:pic>
        <p:nvPicPr>
          <p:cNvPr id="7" name="Picture 6">
            <a:extLst>
              <a:ext uri="{FF2B5EF4-FFF2-40B4-BE49-F238E27FC236}">
                <a16:creationId xmlns:a16="http://schemas.microsoft.com/office/drawing/2014/main" id="{D1E2E1E8-465B-436B-A88D-003B6DB8F9B4}"/>
              </a:ext>
            </a:extLst>
          </p:cNvPr>
          <p:cNvPicPr>
            <a:picLocks noChangeAspect="1"/>
          </p:cNvPicPr>
          <p:nvPr/>
        </p:nvPicPr>
        <p:blipFill>
          <a:blip r:embed="rId3"/>
          <a:stretch>
            <a:fillRect/>
          </a:stretch>
        </p:blipFill>
        <p:spPr>
          <a:xfrm>
            <a:off x="4189633" y="3413522"/>
            <a:ext cx="1774994" cy="670077"/>
          </a:xfrm>
          <a:prstGeom prst="rect">
            <a:avLst/>
          </a:prstGeom>
        </p:spPr>
      </p:pic>
      <p:pic>
        <p:nvPicPr>
          <p:cNvPr id="16" name="Picture 15">
            <a:extLst>
              <a:ext uri="{FF2B5EF4-FFF2-40B4-BE49-F238E27FC236}">
                <a16:creationId xmlns:a16="http://schemas.microsoft.com/office/drawing/2014/main" id="{6242117D-C623-44E6-9BAA-CE1806B366E1}"/>
              </a:ext>
            </a:extLst>
          </p:cNvPr>
          <p:cNvPicPr>
            <a:picLocks noChangeAspect="1"/>
          </p:cNvPicPr>
          <p:nvPr/>
        </p:nvPicPr>
        <p:blipFill>
          <a:blip r:embed="rId4"/>
          <a:stretch>
            <a:fillRect/>
          </a:stretch>
        </p:blipFill>
        <p:spPr>
          <a:xfrm>
            <a:off x="4189633" y="4186673"/>
            <a:ext cx="1950454" cy="1128262"/>
          </a:xfrm>
          <a:prstGeom prst="rect">
            <a:avLst/>
          </a:prstGeom>
        </p:spPr>
      </p:pic>
      <p:sp>
        <p:nvSpPr>
          <p:cNvPr id="2" name="TextBox 1">
            <a:extLst>
              <a:ext uri="{FF2B5EF4-FFF2-40B4-BE49-F238E27FC236}">
                <a16:creationId xmlns:a16="http://schemas.microsoft.com/office/drawing/2014/main" id="{5987FB3D-A1E5-4651-A098-90C48668969F}"/>
              </a:ext>
            </a:extLst>
          </p:cNvPr>
          <p:cNvSpPr txBox="1"/>
          <p:nvPr/>
        </p:nvSpPr>
        <p:spPr>
          <a:xfrm>
            <a:off x="5680735" y="2567322"/>
            <a:ext cx="484428" cy="200055"/>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Arial"/>
                <a:ea typeface="+mn-ea"/>
                <a:cs typeface="+mn-cs"/>
              </a:rPr>
              <a:t>Membe</a:t>
            </a:r>
            <a:endParaRPr kumimoji="0" lang="en-CA" sz="7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Oval 20">
            <a:extLst>
              <a:ext uri="{FF2B5EF4-FFF2-40B4-BE49-F238E27FC236}">
                <a16:creationId xmlns:a16="http://schemas.microsoft.com/office/drawing/2014/main" id="{5A5781C6-ACBC-4067-A66B-FDC5AFA04175}"/>
              </a:ext>
            </a:extLst>
          </p:cNvPr>
          <p:cNvSpPr/>
          <p:nvPr/>
        </p:nvSpPr>
        <p:spPr>
          <a:xfrm>
            <a:off x="306614" y="1965880"/>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1</a:t>
            </a:r>
            <a:endParaRPr kumimoji="0" lang="en-CA" sz="10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22" name="Oval 21">
            <a:extLst>
              <a:ext uri="{FF2B5EF4-FFF2-40B4-BE49-F238E27FC236}">
                <a16:creationId xmlns:a16="http://schemas.microsoft.com/office/drawing/2014/main" id="{1932A7F3-0CCF-4855-9D7B-A917056BEA68}"/>
              </a:ext>
            </a:extLst>
          </p:cNvPr>
          <p:cNvSpPr/>
          <p:nvPr/>
        </p:nvSpPr>
        <p:spPr>
          <a:xfrm>
            <a:off x="3945860" y="2356258"/>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1</a:t>
            </a:r>
            <a:endParaRPr kumimoji="0" lang="en-CA" sz="10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24" name="Oval 23">
            <a:extLst>
              <a:ext uri="{FF2B5EF4-FFF2-40B4-BE49-F238E27FC236}">
                <a16:creationId xmlns:a16="http://schemas.microsoft.com/office/drawing/2014/main" id="{281BB609-ED37-47AA-8F79-6279A97251CF}"/>
              </a:ext>
            </a:extLst>
          </p:cNvPr>
          <p:cNvSpPr/>
          <p:nvPr/>
        </p:nvSpPr>
        <p:spPr>
          <a:xfrm>
            <a:off x="283936" y="3044676"/>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2</a:t>
            </a:r>
            <a:endParaRPr kumimoji="0" lang="en-CA" sz="10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25" name="Oval 24">
            <a:extLst>
              <a:ext uri="{FF2B5EF4-FFF2-40B4-BE49-F238E27FC236}">
                <a16:creationId xmlns:a16="http://schemas.microsoft.com/office/drawing/2014/main" id="{7CE8C55A-D106-4D37-94C7-D2135EFC69A8}"/>
              </a:ext>
            </a:extLst>
          </p:cNvPr>
          <p:cNvSpPr/>
          <p:nvPr/>
        </p:nvSpPr>
        <p:spPr>
          <a:xfrm>
            <a:off x="3714770" y="3506808"/>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2</a:t>
            </a:r>
            <a:endParaRPr kumimoji="0" lang="en-CA" sz="10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26" name="Oval 25">
            <a:extLst>
              <a:ext uri="{FF2B5EF4-FFF2-40B4-BE49-F238E27FC236}">
                <a16:creationId xmlns:a16="http://schemas.microsoft.com/office/drawing/2014/main" id="{CAD2C197-001B-474D-B17C-2B40B0436A55}"/>
              </a:ext>
            </a:extLst>
          </p:cNvPr>
          <p:cNvSpPr/>
          <p:nvPr/>
        </p:nvSpPr>
        <p:spPr>
          <a:xfrm>
            <a:off x="283936" y="5621678"/>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3</a:t>
            </a:r>
            <a:endParaRPr kumimoji="0" lang="en-CA" sz="10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27" name="Oval 26">
            <a:extLst>
              <a:ext uri="{FF2B5EF4-FFF2-40B4-BE49-F238E27FC236}">
                <a16:creationId xmlns:a16="http://schemas.microsoft.com/office/drawing/2014/main" id="{D27B72B6-8636-4C20-8426-D62C5E7797E9}"/>
              </a:ext>
            </a:extLst>
          </p:cNvPr>
          <p:cNvSpPr/>
          <p:nvPr/>
        </p:nvSpPr>
        <p:spPr>
          <a:xfrm>
            <a:off x="7415611" y="2440615"/>
            <a:ext cx="514885"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3</a:t>
            </a:r>
            <a:endParaRPr kumimoji="0" lang="en-CA" sz="10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Tree>
    <p:extLst>
      <p:ext uri="{BB962C8B-B14F-4D97-AF65-F5344CB8AC3E}">
        <p14:creationId xmlns:p14="http://schemas.microsoft.com/office/powerpoint/2010/main" val="10414561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4379377-BF9A-447D-B36D-969708AA8C3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6BDDE3B-6E17-4A89-9F93-DBB317C0A6AD}" type="slidenum">
              <a:rPr kumimoji="0" lang="en-US" sz="900" b="1" i="0" u="none" strike="noStrike" kern="1200" cap="none" spc="0" normalizeH="0" baseline="0" noProof="0" smtClean="0">
                <a:ln>
                  <a:noFill/>
                </a:ln>
                <a:solidFill>
                  <a:srgbClr val="1C1C1C"/>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900" b="1" i="0" u="none" strike="noStrike" kern="1200" cap="none" spc="0" normalizeH="0" baseline="0" noProof="0" dirty="0">
              <a:ln>
                <a:noFill/>
              </a:ln>
              <a:solidFill>
                <a:srgbClr val="1C1C1C"/>
              </a:solidFill>
              <a:effectLst/>
              <a:uLnTx/>
              <a:uFillTx/>
              <a:latin typeface="Arial" panose="020B0604020202020204" pitchFamily="34" charset="0"/>
              <a:ea typeface="+mn-ea"/>
              <a:cs typeface="Arial" panose="020B0604020202020204" pitchFamily="34" charset="0"/>
            </a:endParaRPr>
          </a:p>
        </p:txBody>
      </p:sp>
      <p:pic>
        <p:nvPicPr>
          <p:cNvPr id="13" name="Picture 12">
            <a:extLst>
              <a:ext uri="{FF2B5EF4-FFF2-40B4-BE49-F238E27FC236}">
                <a16:creationId xmlns:a16="http://schemas.microsoft.com/office/drawing/2014/main" id="{B4593408-A37A-41D0-A002-8AD334E6A875}"/>
              </a:ext>
            </a:extLst>
          </p:cNvPr>
          <p:cNvPicPr>
            <a:picLocks noChangeAspect="1"/>
          </p:cNvPicPr>
          <p:nvPr/>
        </p:nvPicPr>
        <p:blipFill rotWithShape="1">
          <a:blip r:embed="rId2"/>
          <a:srcRect t="18977"/>
          <a:stretch/>
        </p:blipFill>
        <p:spPr>
          <a:xfrm>
            <a:off x="3863566" y="1453014"/>
            <a:ext cx="8182867" cy="3889953"/>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58C14A4E-F242-47B0-A66E-DA33C7231206}"/>
              </a:ext>
            </a:extLst>
          </p:cNvPr>
          <p:cNvSpPr txBox="1"/>
          <p:nvPr/>
        </p:nvSpPr>
        <p:spPr>
          <a:xfrm>
            <a:off x="824182" y="2812334"/>
            <a:ext cx="2745738" cy="215443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r ability to Add Receipts where you or your authorized buyers did not use a Pro </a:t>
            </a:r>
            <a:r>
              <a:rPr kumimoji="0" lang="en-US" sz="1400" b="0" i="0" u="none" strike="noStrike" kern="1200" cap="none" spc="0" normalizeH="0" baseline="0" noProof="0" dirty="0" err="1">
                <a:ln>
                  <a:noFill/>
                </a:ln>
                <a:solidFill>
                  <a:srgbClr val="1C1C1C">
                    <a:lumMod val="75000"/>
                    <a:lumOff val="25000"/>
                  </a:srgbClr>
                </a:solidFill>
                <a:effectLst/>
                <a:uLnTx/>
                <a:uFillTx/>
                <a:latin typeface="Arial"/>
                <a:ea typeface="+mn-ea"/>
                <a:cs typeface="+mn-cs"/>
              </a:rPr>
              <a:t>Xtra</a:t>
            </a: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 ID when making a purchase for your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dirty="0">
              <a:ln>
                <a:noFill/>
              </a:ln>
              <a:solidFill>
                <a:srgbClr val="1C1C1C">
                  <a:lumMod val="75000"/>
                  <a:lumOff val="2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1C1C1C">
                    <a:lumMod val="75000"/>
                    <a:lumOff val="25000"/>
                  </a:srgbClr>
                </a:solidFill>
                <a:effectLst/>
                <a:uLnTx/>
                <a:uFillTx/>
                <a:latin typeface="Arial"/>
                <a:ea typeface="+mn-ea"/>
                <a:cs typeface="+mn-cs"/>
              </a:rPr>
              <a:t>*Add Receipt function can be used for in-store transactions only. You must log in before you check out in order to get rewarded for online purchases.</a:t>
            </a:r>
          </a:p>
        </p:txBody>
      </p:sp>
      <p:sp>
        <p:nvSpPr>
          <p:cNvPr id="16" name="TextBox 15">
            <a:extLst>
              <a:ext uri="{FF2B5EF4-FFF2-40B4-BE49-F238E27FC236}">
                <a16:creationId xmlns:a16="http://schemas.microsoft.com/office/drawing/2014/main" id="{8D6EF118-D716-464F-8657-8F0034F488A3}"/>
              </a:ext>
            </a:extLst>
          </p:cNvPr>
          <p:cNvSpPr txBox="1"/>
          <p:nvPr/>
        </p:nvSpPr>
        <p:spPr>
          <a:xfrm>
            <a:off x="824182" y="5160223"/>
            <a:ext cx="2745738" cy="1169551"/>
          </a:xfrm>
          <a:prstGeom prst="rect">
            <a:avLst/>
          </a:prstGeom>
          <a:noFill/>
        </p:spPr>
        <p:txBody>
          <a:bodyPr wrap="square" rtlCol="0">
            <a:spAutoFit/>
          </a:bodyPr>
          <a:lstStyle>
            <a:defPPr>
              <a:defRPr lang="en-US"/>
            </a:defPPr>
            <a:lvl1pPr marL="285750" indent="-285750">
              <a:buClr>
                <a:schemeClr val="tx2"/>
              </a:buClr>
              <a:buFont typeface="Wingdings" panose="05000000000000000000" pitchFamily="2" charset="2"/>
              <a:buChar char="ü"/>
              <a:defRPr sz="1400"/>
            </a:lvl1p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Your Purchase History shows you detailed transaction records made with a Pro </a:t>
            </a:r>
            <a:r>
              <a:rPr kumimoji="0" lang="en-US" sz="1400" b="0" i="0" u="none" strike="noStrike" kern="1200" cap="none" spc="0" normalizeH="0" baseline="0" noProof="0" dirty="0" err="1">
                <a:ln>
                  <a:noFill/>
                </a:ln>
                <a:solidFill>
                  <a:srgbClr val="1C1C1C">
                    <a:lumMod val="75000"/>
                    <a:lumOff val="25000"/>
                  </a:srgbClr>
                </a:solidFill>
                <a:effectLst/>
                <a:uLnTx/>
                <a:uFillTx/>
                <a:latin typeface="Arial"/>
                <a:ea typeface="+mn-ea"/>
                <a:cs typeface="+mn-cs"/>
              </a:rPr>
              <a:t>Xtra</a:t>
            </a: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 ID up to 2 years back</a:t>
            </a:r>
          </a:p>
        </p:txBody>
      </p:sp>
      <p:sp>
        <p:nvSpPr>
          <p:cNvPr id="21" name="TextBox 20">
            <a:extLst>
              <a:ext uri="{FF2B5EF4-FFF2-40B4-BE49-F238E27FC236}">
                <a16:creationId xmlns:a16="http://schemas.microsoft.com/office/drawing/2014/main" id="{017A0693-C4FF-40FF-A594-C4DB3063BB5D}"/>
              </a:ext>
            </a:extLst>
          </p:cNvPr>
          <p:cNvSpPr txBox="1"/>
          <p:nvPr/>
        </p:nvSpPr>
        <p:spPr>
          <a:xfrm>
            <a:off x="839330" y="1642985"/>
            <a:ext cx="2745738" cy="954107"/>
          </a:xfrm>
          <a:prstGeom prst="rect">
            <a:avLst/>
          </a:prstGeom>
          <a:noFill/>
        </p:spPr>
        <p:txBody>
          <a:bodyPr wrap="square" rtlCol="0">
            <a:spAutoFit/>
          </a:bodyPr>
          <a:lstStyle>
            <a:defPPr>
              <a:defRPr lang="en-US"/>
            </a:defPPr>
            <a:lvl1pPr marL="285750" indent="-285750">
              <a:buClr>
                <a:schemeClr val="tx2"/>
              </a:buClr>
              <a:buFont typeface="Wingdings" panose="05000000000000000000" pitchFamily="2" charset="2"/>
              <a:buChar char="ü"/>
              <a:defRPr sz="1400"/>
            </a:lvl1pPr>
          </a:lstStyle>
          <a:p>
            <a:pPr marL="285750" marR="0" lvl="0" indent="-285750" algn="l" defTabSz="914400" rtl="0" eaLnBrk="1" fontAlgn="auto" latinLnBrk="0" hangingPunct="1">
              <a:lnSpc>
                <a:spcPct val="100000"/>
              </a:lnSpc>
              <a:spcBef>
                <a:spcPts val="0"/>
              </a:spcBef>
              <a:spcAft>
                <a:spcPts val="0"/>
              </a:spcAft>
              <a:buClr>
                <a:srgbClr val="F58220"/>
              </a:buClr>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Quick links to view your Pro </a:t>
            </a:r>
            <a:r>
              <a:rPr kumimoji="0" lang="en-US" sz="1400" b="0" i="0" u="none" strike="noStrike" kern="1200" cap="none" spc="0" normalizeH="0" baseline="0" noProof="0" dirty="0" err="1">
                <a:ln>
                  <a:noFill/>
                </a:ln>
                <a:solidFill>
                  <a:srgbClr val="1C1C1C">
                    <a:lumMod val="75000"/>
                    <a:lumOff val="25000"/>
                  </a:srgbClr>
                </a:solidFill>
                <a:effectLst/>
                <a:uLnTx/>
                <a:uFillTx/>
                <a:latin typeface="Arial"/>
                <a:ea typeface="+mn-ea"/>
                <a:cs typeface="+mn-cs"/>
              </a:rPr>
              <a:t>Xtra</a:t>
            </a:r>
            <a:r>
              <a:rPr kumimoji="0" lang="en-US" sz="1400" b="0" i="0" u="none" strike="noStrike" kern="1200" cap="none" spc="0" normalizeH="0" baseline="0" noProof="0" dirty="0">
                <a:ln>
                  <a:noFill/>
                </a:ln>
                <a:solidFill>
                  <a:srgbClr val="1C1C1C">
                    <a:lumMod val="75000"/>
                    <a:lumOff val="25000"/>
                  </a:srgbClr>
                </a:solidFill>
                <a:effectLst/>
                <a:uLnTx/>
                <a:uFillTx/>
                <a:latin typeface="Arial"/>
                <a:ea typeface="+mn-ea"/>
                <a:cs typeface="+mn-cs"/>
              </a:rPr>
              <a:t> Rewards &amp; Spend along with other information about your Account </a:t>
            </a:r>
          </a:p>
        </p:txBody>
      </p:sp>
      <p:sp>
        <p:nvSpPr>
          <p:cNvPr id="25" name="TextBox 24">
            <a:extLst>
              <a:ext uri="{FF2B5EF4-FFF2-40B4-BE49-F238E27FC236}">
                <a16:creationId xmlns:a16="http://schemas.microsoft.com/office/drawing/2014/main" id="{47AE284D-012F-4413-9BD2-0AEB59598826}"/>
              </a:ext>
            </a:extLst>
          </p:cNvPr>
          <p:cNvSpPr txBox="1"/>
          <p:nvPr/>
        </p:nvSpPr>
        <p:spPr>
          <a:xfrm>
            <a:off x="4000184" y="4223340"/>
            <a:ext cx="553022" cy="1425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sp>
        <p:nvSpPr>
          <p:cNvPr id="27" name="TextBox 26">
            <a:extLst>
              <a:ext uri="{FF2B5EF4-FFF2-40B4-BE49-F238E27FC236}">
                <a16:creationId xmlns:a16="http://schemas.microsoft.com/office/drawing/2014/main" id="{239066ED-E5AD-486B-9BEE-DCD646D5043F}"/>
              </a:ext>
            </a:extLst>
          </p:cNvPr>
          <p:cNvSpPr txBox="1"/>
          <p:nvPr/>
        </p:nvSpPr>
        <p:spPr>
          <a:xfrm>
            <a:off x="342900" y="985572"/>
            <a:ext cx="113447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1C1C1C">
                    <a:lumMod val="75000"/>
                    <a:lumOff val="25000"/>
                  </a:srgbClr>
                </a:solidFill>
                <a:effectLst/>
                <a:uLnTx/>
                <a:uFillTx/>
                <a:latin typeface="Arial"/>
                <a:ea typeface="+mn-ea"/>
                <a:cs typeface="+mn-cs"/>
              </a:rPr>
              <a:t>Your personalized Home Page also includes:</a:t>
            </a:r>
          </a:p>
        </p:txBody>
      </p:sp>
      <p:sp>
        <p:nvSpPr>
          <p:cNvPr id="30" name="Title 1">
            <a:extLst>
              <a:ext uri="{FF2B5EF4-FFF2-40B4-BE49-F238E27FC236}">
                <a16:creationId xmlns:a16="http://schemas.microsoft.com/office/drawing/2014/main" id="{501D7BBF-F154-4C32-A884-01B58295C7A8}"/>
              </a:ext>
            </a:extLst>
          </p:cNvPr>
          <p:cNvSpPr>
            <a:spLocks noGrp="1"/>
          </p:cNvSpPr>
          <p:nvPr>
            <p:ph type="title"/>
          </p:nvPr>
        </p:nvSpPr>
        <p:spPr>
          <a:xfrm>
            <a:off x="386367" y="204334"/>
            <a:ext cx="9881583" cy="513337"/>
          </a:xfrm>
          <a:noFill/>
        </p:spPr>
        <p:txBody>
          <a:bodyPr>
            <a:noAutofit/>
          </a:bodyPr>
          <a:lstStyle/>
          <a:p>
            <a:r>
              <a:rPr lang="en-US" dirty="0"/>
              <a:t>Pro B2B Online Account </a:t>
            </a:r>
            <a:r>
              <a:rPr lang="en-US" b="0" dirty="0">
                <a:solidFill>
                  <a:schemeClr val="tx1">
                    <a:lumMod val="50000"/>
                    <a:lumOff val="50000"/>
                  </a:schemeClr>
                </a:solidFill>
              </a:rPr>
              <a:t>| Home Page continued…</a:t>
            </a:r>
            <a:endParaRPr lang="en-CA" b="0" dirty="0">
              <a:solidFill>
                <a:schemeClr val="tx1">
                  <a:lumMod val="50000"/>
                  <a:lumOff val="50000"/>
                </a:schemeClr>
              </a:solidFill>
            </a:endParaRPr>
          </a:p>
        </p:txBody>
      </p:sp>
      <p:pic>
        <p:nvPicPr>
          <p:cNvPr id="36" name="Picture 35">
            <a:extLst>
              <a:ext uri="{FF2B5EF4-FFF2-40B4-BE49-F238E27FC236}">
                <a16:creationId xmlns:a16="http://schemas.microsoft.com/office/drawing/2014/main" id="{0873C16D-B01A-4579-ABB6-17A484C6E6D2}"/>
              </a:ext>
            </a:extLst>
          </p:cNvPr>
          <p:cNvPicPr>
            <a:picLocks noChangeAspect="1"/>
          </p:cNvPicPr>
          <p:nvPr/>
        </p:nvPicPr>
        <p:blipFill>
          <a:blip r:embed="rId3"/>
          <a:stretch>
            <a:fillRect/>
          </a:stretch>
        </p:blipFill>
        <p:spPr>
          <a:xfrm>
            <a:off x="4158763" y="3516184"/>
            <a:ext cx="1889606" cy="777646"/>
          </a:xfrm>
          <a:prstGeom prst="rect">
            <a:avLst/>
          </a:prstGeom>
        </p:spPr>
      </p:pic>
      <p:pic>
        <p:nvPicPr>
          <p:cNvPr id="39" name="Picture 38">
            <a:extLst>
              <a:ext uri="{FF2B5EF4-FFF2-40B4-BE49-F238E27FC236}">
                <a16:creationId xmlns:a16="http://schemas.microsoft.com/office/drawing/2014/main" id="{64185244-AA0C-421B-9F60-E3CD530C3F09}"/>
              </a:ext>
            </a:extLst>
          </p:cNvPr>
          <p:cNvPicPr>
            <a:picLocks noChangeAspect="1"/>
          </p:cNvPicPr>
          <p:nvPr/>
        </p:nvPicPr>
        <p:blipFill>
          <a:blip r:embed="rId4"/>
          <a:stretch>
            <a:fillRect/>
          </a:stretch>
        </p:blipFill>
        <p:spPr>
          <a:xfrm>
            <a:off x="4097915" y="4162991"/>
            <a:ext cx="1950454" cy="1128262"/>
          </a:xfrm>
          <a:prstGeom prst="rect">
            <a:avLst/>
          </a:prstGeom>
        </p:spPr>
      </p:pic>
      <p:sp>
        <p:nvSpPr>
          <p:cNvPr id="19" name="TextBox 18">
            <a:extLst>
              <a:ext uri="{FF2B5EF4-FFF2-40B4-BE49-F238E27FC236}">
                <a16:creationId xmlns:a16="http://schemas.microsoft.com/office/drawing/2014/main" id="{E2892D75-EA5F-47F2-B91E-0E124A9FBCE6}"/>
              </a:ext>
            </a:extLst>
          </p:cNvPr>
          <p:cNvSpPr txBox="1"/>
          <p:nvPr/>
        </p:nvSpPr>
        <p:spPr>
          <a:xfrm>
            <a:off x="5581115" y="2449253"/>
            <a:ext cx="514885" cy="200055"/>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a:ea typeface="+mn-ea"/>
                <a:cs typeface="+mn-cs"/>
              </a:rPr>
              <a:t>Member</a:t>
            </a:r>
            <a:endParaRPr kumimoji="0" lang="en-CA" sz="7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88B7D7C1-7903-48E0-9E64-D49AF909CF53}"/>
              </a:ext>
            </a:extLst>
          </p:cNvPr>
          <p:cNvSpPr/>
          <p:nvPr/>
        </p:nvSpPr>
        <p:spPr>
          <a:xfrm>
            <a:off x="259171" y="1642985"/>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4</a:t>
            </a:r>
            <a:endParaRPr kumimoji="0" lang="en-CA" sz="18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32" name="Oval 31">
            <a:extLst>
              <a:ext uri="{FF2B5EF4-FFF2-40B4-BE49-F238E27FC236}">
                <a16:creationId xmlns:a16="http://schemas.microsoft.com/office/drawing/2014/main" id="{0A4F72E9-17AF-403B-B41C-32A026D8C765}"/>
              </a:ext>
            </a:extLst>
          </p:cNvPr>
          <p:cNvSpPr/>
          <p:nvPr/>
        </p:nvSpPr>
        <p:spPr>
          <a:xfrm>
            <a:off x="3612507" y="4273652"/>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4</a:t>
            </a:r>
            <a:endParaRPr kumimoji="0" lang="en-CA" sz="18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33" name="Oval 32">
            <a:extLst>
              <a:ext uri="{FF2B5EF4-FFF2-40B4-BE49-F238E27FC236}">
                <a16:creationId xmlns:a16="http://schemas.microsoft.com/office/drawing/2014/main" id="{9EDA81B7-D6A1-428F-A280-6D37DDAEDCF4}"/>
              </a:ext>
            </a:extLst>
          </p:cNvPr>
          <p:cNvSpPr/>
          <p:nvPr/>
        </p:nvSpPr>
        <p:spPr>
          <a:xfrm>
            <a:off x="242777" y="2789886"/>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5</a:t>
            </a:r>
            <a:endParaRPr kumimoji="0" lang="en-CA" sz="18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34" name="Oval 33">
            <a:extLst>
              <a:ext uri="{FF2B5EF4-FFF2-40B4-BE49-F238E27FC236}">
                <a16:creationId xmlns:a16="http://schemas.microsoft.com/office/drawing/2014/main" id="{39B454AD-8707-401C-9DF7-F0AD6A803F98}"/>
              </a:ext>
            </a:extLst>
          </p:cNvPr>
          <p:cNvSpPr/>
          <p:nvPr/>
        </p:nvSpPr>
        <p:spPr>
          <a:xfrm>
            <a:off x="8898038" y="2597092"/>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5</a:t>
            </a:r>
            <a:endParaRPr kumimoji="0" lang="en-CA" sz="18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35" name="Oval 34">
            <a:extLst>
              <a:ext uri="{FF2B5EF4-FFF2-40B4-BE49-F238E27FC236}">
                <a16:creationId xmlns:a16="http://schemas.microsoft.com/office/drawing/2014/main" id="{5A113A62-59E2-44F9-B5C8-530B7084ED48}"/>
              </a:ext>
            </a:extLst>
          </p:cNvPr>
          <p:cNvSpPr/>
          <p:nvPr/>
        </p:nvSpPr>
        <p:spPr>
          <a:xfrm>
            <a:off x="259171" y="5174739"/>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6</a:t>
            </a:r>
            <a:endParaRPr kumimoji="0" lang="en-CA" sz="18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37" name="Oval 36">
            <a:extLst>
              <a:ext uri="{FF2B5EF4-FFF2-40B4-BE49-F238E27FC236}">
                <a16:creationId xmlns:a16="http://schemas.microsoft.com/office/drawing/2014/main" id="{BB78B53B-1490-4020-80A0-7E77D86DBCEE}"/>
              </a:ext>
            </a:extLst>
          </p:cNvPr>
          <p:cNvSpPr/>
          <p:nvPr/>
        </p:nvSpPr>
        <p:spPr>
          <a:xfrm>
            <a:off x="11118515" y="2222518"/>
            <a:ext cx="471822" cy="453470"/>
          </a:xfrm>
          <a:prstGeom prst="ellipse">
            <a:avLst/>
          </a:prstGeom>
          <a:solidFill>
            <a:schemeClr val="bg1"/>
          </a:solidFill>
          <a:ln w="38100">
            <a:solidFill>
              <a:schemeClr val="tx2"/>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8E8E8">
                    <a:lumMod val="50000"/>
                  </a:srgbClr>
                </a:solidFill>
                <a:effectLst/>
                <a:uLnTx/>
                <a:uFillTx/>
                <a:latin typeface="Arial"/>
                <a:ea typeface="+mn-ea"/>
                <a:cs typeface="+mn-cs"/>
              </a:rPr>
              <a:t>6</a:t>
            </a:r>
            <a:endParaRPr kumimoji="0" lang="en-CA" sz="1800" b="1" i="0" u="none" strike="noStrike" kern="1200" cap="none" spc="0" normalizeH="0" baseline="0" noProof="0" dirty="0">
              <a:ln>
                <a:noFill/>
              </a:ln>
              <a:solidFill>
                <a:srgbClr val="E8E8E8">
                  <a:lumMod val="50000"/>
                </a:srgbClr>
              </a:solidFill>
              <a:effectLst/>
              <a:uLnTx/>
              <a:uFillTx/>
              <a:latin typeface="Arial"/>
              <a:ea typeface="+mn-ea"/>
              <a:cs typeface="+mn-cs"/>
            </a:endParaRPr>
          </a:p>
        </p:txBody>
      </p:sp>
      <p:sp>
        <p:nvSpPr>
          <p:cNvPr id="2" name="TextBox 1">
            <a:extLst>
              <a:ext uri="{FF2B5EF4-FFF2-40B4-BE49-F238E27FC236}">
                <a16:creationId xmlns:a16="http://schemas.microsoft.com/office/drawing/2014/main" id="{9C3EBB0A-1D46-4748-93AA-0CC9733661D9}"/>
              </a:ext>
            </a:extLst>
          </p:cNvPr>
          <p:cNvSpPr txBox="1"/>
          <p:nvPr/>
        </p:nvSpPr>
        <p:spPr>
          <a:xfrm>
            <a:off x="4126916" y="4316385"/>
            <a:ext cx="1210210" cy="843838"/>
          </a:xfrm>
          <a:prstGeom prst="rect">
            <a:avLst/>
          </a:prstGeom>
          <a:noFill/>
          <a:ln w="28575">
            <a:solidFill>
              <a:schemeClr val="tx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sp>
        <p:nvSpPr>
          <p:cNvPr id="40" name="TextBox 39">
            <a:extLst>
              <a:ext uri="{FF2B5EF4-FFF2-40B4-BE49-F238E27FC236}">
                <a16:creationId xmlns:a16="http://schemas.microsoft.com/office/drawing/2014/main" id="{FB221831-1626-4CA9-9637-187254D48680}"/>
              </a:ext>
            </a:extLst>
          </p:cNvPr>
          <p:cNvSpPr txBox="1"/>
          <p:nvPr/>
        </p:nvSpPr>
        <p:spPr>
          <a:xfrm>
            <a:off x="9369860" y="2648672"/>
            <a:ext cx="2441140" cy="443823"/>
          </a:xfrm>
          <a:prstGeom prst="rect">
            <a:avLst/>
          </a:prstGeom>
          <a:noFill/>
          <a:ln w="28575">
            <a:solidFill>
              <a:schemeClr val="tx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1C1C1C"/>
              </a:solidFill>
              <a:effectLst/>
              <a:uLnTx/>
              <a:uFillTx/>
              <a:latin typeface="Arial"/>
              <a:ea typeface="+mn-ea"/>
              <a:cs typeface="+mn-cs"/>
            </a:endParaRPr>
          </a:p>
        </p:txBody>
      </p:sp>
    </p:spTree>
    <p:extLst>
      <p:ext uri="{BB962C8B-B14F-4D97-AF65-F5344CB8AC3E}">
        <p14:creationId xmlns:p14="http://schemas.microsoft.com/office/powerpoint/2010/main" val="38206675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_THD 2015 - Standard Template">
  <a:themeElements>
    <a:clrScheme name="THD PowerPoint Template">
      <a:dk1>
        <a:srgbClr val="1C1C1C"/>
      </a:dk1>
      <a:lt1>
        <a:srgbClr val="FFFFFF"/>
      </a:lt1>
      <a:dk2>
        <a:srgbClr val="F58220"/>
      </a:dk2>
      <a:lt2>
        <a:srgbClr val="E8E8E8"/>
      </a:lt2>
      <a:accent1>
        <a:srgbClr val="D0D0D0"/>
      </a:accent1>
      <a:accent2>
        <a:srgbClr val="AEAEAE"/>
      </a:accent2>
      <a:accent3>
        <a:srgbClr val="F58220"/>
      </a:accent3>
      <a:accent4>
        <a:srgbClr val="E8E8E8"/>
      </a:accent4>
      <a:accent5>
        <a:srgbClr val="C6C6C6"/>
      </a:accent5>
      <a:accent6>
        <a:srgbClr val="F58220"/>
      </a:accent6>
      <a:hlink>
        <a:srgbClr val="5F5F5F"/>
      </a:hlink>
      <a:folHlink>
        <a:srgbClr val="0000B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0_THD 2015 - Standard Template">
  <a:themeElements>
    <a:clrScheme name="THD PowerPoint Template">
      <a:dk1>
        <a:srgbClr val="1C1C1C"/>
      </a:dk1>
      <a:lt1>
        <a:srgbClr val="FFFFFF"/>
      </a:lt1>
      <a:dk2>
        <a:srgbClr val="F58220"/>
      </a:dk2>
      <a:lt2>
        <a:srgbClr val="E8E8E8"/>
      </a:lt2>
      <a:accent1>
        <a:srgbClr val="D0D0D0"/>
      </a:accent1>
      <a:accent2>
        <a:srgbClr val="AEAEAE"/>
      </a:accent2>
      <a:accent3>
        <a:srgbClr val="F58220"/>
      </a:accent3>
      <a:accent4>
        <a:srgbClr val="E8E8E8"/>
      </a:accent4>
      <a:accent5>
        <a:srgbClr val="C6C6C6"/>
      </a:accent5>
      <a:accent6>
        <a:srgbClr val="F58220"/>
      </a:accent6>
      <a:hlink>
        <a:srgbClr val="5F5F5F"/>
      </a:hlink>
      <a:folHlink>
        <a:srgbClr val="0000B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D 2015 - Standard Template">
  <a:themeElements>
    <a:clrScheme name="THD PowerPoint Template">
      <a:dk1>
        <a:srgbClr val="1C1C1C"/>
      </a:dk1>
      <a:lt1>
        <a:srgbClr val="FFFFFF"/>
      </a:lt1>
      <a:dk2>
        <a:srgbClr val="F58220"/>
      </a:dk2>
      <a:lt2>
        <a:srgbClr val="E8E8E8"/>
      </a:lt2>
      <a:accent1>
        <a:srgbClr val="D0D0D0"/>
      </a:accent1>
      <a:accent2>
        <a:srgbClr val="AEAEAE"/>
      </a:accent2>
      <a:accent3>
        <a:srgbClr val="F58220"/>
      </a:accent3>
      <a:accent4>
        <a:srgbClr val="E8E8E8"/>
      </a:accent4>
      <a:accent5>
        <a:srgbClr val="C6C6C6"/>
      </a:accent5>
      <a:accent6>
        <a:srgbClr val="F58220"/>
      </a:accent6>
      <a:hlink>
        <a:srgbClr val="5F5F5F"/>
      </a:hlink>
      <a:folHlink>
        <a:srgbClr val="0000B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THD 2015 - Standard Template">
  <a:themeElements>
    <a:clrScheme name="THD PowerPoint Template">
      <a:dk1>
        <a:srgbClr val="1C1C1C"/>
      </a:dk1>
      <a:lt1>
        <a:srgbClr val="FFFFFF"/>
      </a:lt1>
      <a:dk2>
        <a:srgbClr val="F58220"/>
      </a:dk2>
      <a:lt2>
        <a:srgbClr val="E8E8E8"/>
      </a:lt2>
      <a:accent1>
        <a:srgbClr val="D0D0D0"/>
      </a:accent1>
      <a:accent2>
        <a:srgbClr val="AEAEAE"/>
      </a:accent2>
      <a:accent3>
        <a:srgbClr val="F58220"/>
      </a:accent3>
      <a:accent4>
        <a:srgbClr val="E8E8E8"/>
      </a:accent4>
      <a:accent5>
        <a:srgbClr val="C6C6C6"/>
      </a:accent5>
      <a:accent6>
        <a:srgbClr val="F58220"/>
      </a:accent6>
      <a:hlink>
        <a:srgbClr val="5F5F5F"/>
      </a:hlink>
      <a:folHlink>
        <a:srgbClr val="0000B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1741590D8FC946BE6146003983B1C6" ma:contentTypeVersion="20" ma:contentTypeDescription="Create a new document." ma:contentTypeScope="" ma:versionID="4fd25092f2947a2cd232e746b287c121">
  <xsd:schema xmlns:xsd="http://www.w3.org/2001/XMLSchema" xmlns:xs="http://www.w3.org/2001/XMLSchema" xmlns:p="http://schemas.microsoft.com/office/2006/metadata/properties" xmlns:ns2="640f2a54-1a90-4908-aca1-f7832f78562d" xmlns:ns3="c22a1351-e3f2-42ba-9cb0-5abbc294271a" targetNamespace="http://schemas.microsoft.com/office/2006/metadata/properties" ma:root="true" ma:fieldsID="d02c923cd04fb9d944af01345b00d621" ns2:_="" ns3:_="">
    <xsd:import namespace="640f2a54-1a90-4908-aca1-f7832f78562d"/>
    <xsd:import namespace="c22a1351-e3f2-42ba-9cb0-5abbc294271a"/>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0f2a54-1a90-4908-aca1-f7832f7856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description=""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066646e-7455-445b-9470-15d48f9ecdf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22a1351-e3f2-42ba-9cb0-5abbc294271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dbda93d-38de-4ccc-a8a1-b788f37a896b}" ma:internalName="TaxCatchAll" ma:showField="CatchAllData" ma:web="c22a1351-e3f2-42ba-9cb0-5abbc29427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22a1351-e3f2-42ba-9cb0-5abbc294271a" xsi:nil="true"/>
    <lcf76f155ced4ddcb4097134ff3c332f xmlns="640f2a54-1a90-4908-aca1-f7832f78562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F06F28B-9B73-4CBD-A531-DFD8DEA072B9}"/>
</file>

<file path=customXml/itemProps2.xml><?xml version="1.0" encoding="utf-8"?>
<ds:datastoreItem xmlns:ds="http://schemas.openxmlformats.org/officeDocument/2006/customXml" ds:itemID="{DEFBD84A-45AD-4AEC-B27C-F72B9E821295}"/>
</file>

<file path=customXml/itemProps3.xml><?xml version="1.0" encoding="utf-8"?>
<ds:datastoreItem xmlns:ds="http://schemas.openxmlformats.org/officeDocument/2006/customXml" ds:itemID="{20AD5E64-F1C8-4B98-8619-6E58F89CDED4}"/>
</file>

<file path=docMetadata/LabelInfo.xml><?xml version="1.0" encoding="utf-8"?>
<clbl:labelList xmlns:clbl="http://schemas.microsoft.com/office/2020/mipLabelMetadata">
  <clbl:label id="{1a04591e-2156-4e7e-b8dc-60ccb91b4f06}" enabled="1" method="Standard" siteId="{fb7e6711-b619-4fbe-afe6-f83b12673323}" contentBits="2" removed="0"/>
</clbl:labelList>
</file>

<file path=docProps/app.xml><?xml version="1.0" encoding="utf-8"?>
<Properties xmlns="http://schemas.openxmlformats.org/officeDocument/2006/extended-properties" xmlns:vt="http://schemas.openxmlformats.org/officeDocument/2006/docPropsVTypes">
  <TotalTime>275</TotalTime>
  <Words>1586</Words>
  <Application>Microsoft Office PowerPoint</Application>
  <PresentationFormat>Widescreen</PresentationFormat>
  <Paragraphs>177</Paragraphs>
  <Slides>13</Slides>
  <Notes>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2</vt:i4>
      </vt:variant>
      <vt:variant>
        <vt:lpstr>Slide Titles</vt:lpstr>
      </vt:variant>
      <vt:variant>
        <vt:i4>13</vt:i4>
      </vt:variant>
    </vt:vector>
  </HeadingPairs>
  <TitlesOfParts>
    <vt:vector size="27" baseType="lpstr">
      <vt:lpstr>Aptos</vt:lpstr>
      <vt:lpstr>Arial</vt:lpstr>
      <vt:lpstr>Arial Nova Cond</vt:lpstr>
      <vt:lpstr>Calibri</vt:lpstr>
      <vt:lpstr>Franklin Gothic Demi Cond</vt:lpstr>
      <vt:lpstr>Helvetica Neue</vt:lpstr>
      <vt:lpstr>Verdana</vt:lpstr>
      <vt:lpstr>Wingdings</vt:lpstr>
      <vt:lpstr>11_THD 2015 - Standard Template</vt:lpstr>
      <vt:lpstr>10_THD 2015 - Standard Template</vt:lpstr>
      <vt:lpstr>THD 2015 - Standard Template</vt:lpstr>
      <vt:lpstr>1_THD 2015 - Standard Template</vt:lpstr>
      <vt:lpstr>think-cell Slide</vt:lpstr>
      <vt:lpstr>Worksheet</vt:lpstr>
      <vt:lpstr>Home Depot Canada -Product and Service Offerings </vt:lpstr>
      <vt:lpstr>The Home Depot | Product and Service Offerings</vt:lpstr>
      <vt:lpstr>PowerPoint Presentation</vt:lpstr>
      <vt:lpstr>Bulk and Volume Programs | Save Time and Money </vt:lpstr>
      <vt:lpstr>PowerPoint Presentation</vt:lpstr>
      <vt:lpstr>PowerPoint Presentation</vt:lpstr>
      <vt:lpstr>      </vt:lpstr>
      <vt:lpstr>Pro Xtra member | B2B tracking - online Account  </vt:lpstr>
      <vt:lpstr>Pro B2B Online Account | Home Page continued…</vt:lpstr>
      <vt:lpstr>PowerPoint Presentation</vt:lpstr>
      <vt:lpstr> </vt:lpstr>
      <vt:lpstr>Home Depot | Commercial Invoice Account  </vt:lpstr>
      <vt:lpstr>Pro Xtra | Links and Contac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rown, Lisa X (Canada)</dc:creator>
  <cp:lastModifiedBy>Brown, Lisa X (Canada)</cp:lastModifiedBy>
  <cp:revision>2</cp:revision>
  <dcterms:created xsi:type="dcterms:W3CDTF">2025-06-10T15:47:29Z</dcterms:created>
  <dcterms:modified xsi:type="dcterms:W3CDTF">2026-05-15T15:1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11_THD 2015 - Standard Template:2\10_THD 2015 - Standard Template:2\THD 2015 - Standard Template:4\1_THD 2015 - Standard Template:5</vt:lpwstr>
  </property>
  <property fmtid="{D5CDD505-2E9C-101B-9397-08002B2CF9AE}" pid="3" name="ClassificationContentMarkingFooterText">
    <vt:lpwstr>INTERNAL USE</vt:lpwstr>
  </property>
  <property fmtid="{D5CDD505-2E9C-101B-9397-08002B2CF9AE}" pid="4" name="ContentTypeId">
    <vt:lpwstr>0x010100A91741590D8FC946BE6146003983B1C6</vt:lpwstr>
  </property>
</Properties>
</file>